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0"/>
  </p:notesMasterIdLst>
  <p:sldIdLst>
    <p:sldId id="2147480620" r:id="rId5"/>
    <p:sldId id="2147480621" r:id="rId6"/>
    <p:sldId id="2147480622" r:id="rId7"/>
    <p:sldId id="2147480623" r:id="rId8"/>
    <p:sldId id="2147480624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83E9A68-946A-2033-9EF3-B1737BB06EF6}" name="Merve Yalcindag/INL/TR" initials="MY" userId="S::merve.yalcindag@avon.com::e4d55f57-00d2-4cf7-a505-f32818765c5d" providerId="AD"/>
  <p188:author id="{71DD9C6F-9869-AFD3-AB22-A0024E1A6F20}" name="Didar Arslan/INL/TR" initials="DA" userId="S::didar.arslan@avon.com::3c9c9a3d-81a8-4cef-b25e-fbe38d7f1d9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0E7647-6457-4A65-A345-96AB5C4E7A83}" v="63" dt="2024-05-23T06:36:55.360"/>
    <p1510:client id="{60D9554E-5DCE-49BC-BCDE-2C268582E8E1}" v="173" dt="2024-05-23T07:09:30.697"/>
    <p1510:client id="{6CF24C59-CB2B-F1DC-EC3C-8649023ACA4D}" v="410" dt="2024-05-22T12:53:56.834"/>
    <p1510:client id="{89D633AE-63CF-4314-A343-25832E4CCD0F}" v="1221" dt="2024-05-23T10:10:18.284"/>
    <p1510:client id="{AF9BDB88-38D8-343B-0088-9990EDD10EE0}" v="129" dt="2024-05-23T11:41:23.769"/>
    <p1510:client id="{CFAF3149-0198-40B9-9073-E4B8E286F07D}" v="305" dt="2024-05-22T13:22:39.093"/>
    <p1510:client id="{EA4AC7B3-39E2-40E1-86A0-4AF84C398248}" v="1300" dt="2024-05-23T11:15:43.8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79" autoAdjust="0"/>
    <p:restoredTop sz="94660"/>
  </p:normalViewPr>
  <p:slideViewPr>
    <p:cSldViewPr snapToGrid="0">
      <p:cViewPr varScale="1">
        <p:scale>
          <a:sx n="60" d="100"/>
          <a:sy n="60" d="100"/>
        </p:scale>
        <p:origin x="90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45C505-1CA6-4629-A81E-7C738582F24D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2DDC81-9D09-475F-801E-A8B0B35B79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8835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C9592-57EE-57CE-F7EA-053D252BD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79" y="2489250"/>
            <a:ext cx="7563434" cy="1347459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defRPr sz="4400" b="0" i="0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8199CE2A-F2CD-21B4-0F02-9F12585F9A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E26D4B-C20E-4333-4C1F-5CA3F09827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3113" y="38369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400" b="0" i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3" name="Picture 2" descr="A picture containing logo&#10;&#10;Description automatically generated">
            <a:extLst>
              <a:ext uri="{FF2B5EF4-FFF2-40B4-BE49-F238E27FC236}">
                <a16:creationId xmlns:a16="http://schemas.microsoft.com/office/drawing/2014/main" id="{D288B2E1-7C7F-B683-B115-DDD96437ED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921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0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C9592-57EE-57CE-F7EA-053D252BD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79" y="2489250"/>
            <a:ext cx="7563434" cy="1347459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defRPr sz="4400" b="0" i="0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8199CE2A-F2CD-21B4-0F02-9F12585F9A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E26D4B-C20E-4333-4C1F-5CA3F09827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3113" y="38369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400" b="0" i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853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C9592-57EE-57CE-F7EA-053D252BD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79" y="2489250"/>
            <a:ext cx="7563434" cy="1347459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8199CE2A-F2CD-21B4-0F02-9F12585F9A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E26D4B-C20E-4333-4C1F-5CA3F09827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3113" y="38369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400" b="0" i="0">
                <a:solidFill>
                  <a:schemeClr val="tx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370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C9592-57EE-57CE-F7EA-053D252BD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79" y="2489250"/>
            <a:ext cx="7563434" cy="1347459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defRPr sz="4400" b="0" i="0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8199CE2A-F2CD-21B4-0F02-9F12585F9A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E26D4B-C20E-4333-4C1F-5CA3F09827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3113" y="38369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400" b="0" i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094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C9592-57EE-57CE-F7EA-053D252BD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79" y="2489250"/>
            <a:ext cx="7563434" cy="1347459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8199CE2A-F2CD-21B4-0F02-9F12585F9A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E26D4B-C20E-4333-4C1F-5CA3F09827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3113" y="38369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400" b="0" i="0">
                <a:solidFill>
                  <a:schemeClr val="tx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669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C9592-57EE-57CE-F7EA-053D252BD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79" y="2489250"/>
            <a:ext cx="7563434" cy="1347459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8199CE2A-F2CD-21B4-0F02-9F12585F9A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E26D4B-C20E-4333-4C1F-5CA3F09827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3113" y="38369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400" b="0" i="0">
                <a:solidFill>
                  <a:schemeClr val="tx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108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C9592-57EE-57CE-F7EA-053D252BD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79" y="2489250"/>
            <a:ext cx="7563434" cy="1347459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8199CE2A-F2CD-21B4-0F02-9F12585F9A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E26D4B-C20E-4333-4C1F-5CA3F09827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3113" y="38369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400" b="0" i="0">
                <a:solidFill>
                  <a:schemeClr val="tx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25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6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C9592-57EE-57CE-F7EA-053D252BD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79" y="2489250"/>
            <a:ext cx="7563434" cy="1347459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defRPr sz="4400" b="0" i="0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8199CE2A-F2CD-21B4-0F02-9F12585F9A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E26D4B-C20E-4333-4C1F-5CA3F09827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3113" y="38369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400" b="0" i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8541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7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C9592-57EE-57CE-F7EA-053D252BD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79" y="2489250"/>
            <a:ext cx="7563434" cy="1347459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8199CE2A-F2CD-21B4-0F02-9F12585F9A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E26D4B-C20E-4333-4C1F-5CA3F09827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3113" y="38369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400" b="0" i="0">
                <a:solidFill>
                  <a:schemeClr val="tx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541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8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C9592-57EE-57CE-F7EA-053D252BD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79" y="2489250"/>
            <a:ext cx="7563434" cy="1347459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defRPr sz="4400" b="0" i="0">
                <a:solidFill>
                  <a:schemeClr val="tx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8199CE2A-F2CD-21B4-0F02-9F12585F9A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E26D4B-C20E-4333-4C1F-5CA3F09827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3113" y="38369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400" b="0" i="0">
                <a:solidFill>
                  <a:schemeClr val="tx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088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78E1D-D71E-EA98-BA74-C91DF9691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944563"/>
            <a:ext cx="2824926" cy="5545137"/>
          </a:xfrm>
          <a:solidFill>
            <a:schemeClr val="bg1">
              <a:alpha val="88000"/>
            </a:schemeClr>
          </a:solidFill>
        </p:spPr>
        <p:txBody>
          <a:bodyPr lIns="180000" tIns="288000" rIns="72000" anchor="t" anchorCtr="0">
            <a:no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C09707-436D-7178-1809-A921F20C3A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B1405-E380-FF9F-0773-A59386EAB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C262A-D258-EBC8-E4D4-A0EFACC9E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D29C5E6-E99B-2144-5617-F63507437B0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4963" y="4132472"/>
            <a:ext cx="2824926" cy="2042085"/>
          </a:xfrm>
        </p:spPr>
        <p:txBody>
          <a:bodyPr l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1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9613783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C9592-57EE-57CE-F7EA-053D252BD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79" y="2489250"/>
            <a:ext cx="7563434" cy="1347459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defRPr sz="4400" b="0" i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8199CE2A-F2CD-21B4-0F02-9F12585F9A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E26D4B-C20E-4333-4C1F-5CA3F09827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3113" y="38369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400" b="0" i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087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78E1D-D71E-EA98-BA74-C91DF9691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944563"/>
            <a:ext cx="2824926" cy="5545137"/>
          </a:xfrm>
          <a:solidFill>
            <a:schemeClr val="bg1">
              <a:alpha val="88000"/>
            </a:schemeClr>
          </a:solidFill>
        </p:spPr>
        <p:txBody>
          <a:bodyPr lIns="180000" tIns="288000" rIns="72000" anchor="t" anchorCtr="0">
            <a:no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44C703-2A71-BA4A-E732-81DACB752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4963" y="4132472"/>
            <a:ext cx="2824926" cy="2042085"/>
          </a:xfrm>
        </p:spPr>
        <p:txBody>
          <a:bodyPr l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1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C09707-436D-7178-1809-A921F20C3A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B1405-E380-FF9F-0773-A59386EAB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C262A-D258-EBC8-E4D4-A0EFACC9E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20846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78E1D-D71E-EA98-BA74-C91DF9691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944563"/>
            <a:ext cx="2824926" cy="5545137"/>
          </a:xfrm>
          <a:solidFill>
            <a:schemeClr val="bg1">
              <a:alpha val="88000"/>
            </a:schemeClr>
          </a:solidFill>
        </p:spPr>
        <p:txBody>
          <a:bodyPr lIns="180000" tIns="288000" rIns="72000" anchor="t" anchorCtr="0">
            <a:no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44C703-2A71-BA4A-E732-81DACB752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4963" y="4132472"/>
            <a:ext cx="2824926" cy="2042085"/>
          </a:xfrm>
        </p:spPr>
        <p:txBody>
          <a:bodyPr l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1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C09707-436D-7178-1809-A921F20C3A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B1405-E380-FF9F-0773-A59386EAB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C262A-D258-EBC8-E4D4-A0EFACC9E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6682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78E1D-D71E-EA98-BA74-C91DF9691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944563"/>
            <a:ext cx="2824926" cy="5545137"/>
          </a:xfrm>
          <a:solidFill>
            <a:schemeClr val="bg1">
              <a:alpha val="88000"/>
            </a:schemeClr>
          </a:solidFill>
        </p:spPr>
        <p:txBody>
          <a:bodyPr lIns="180000" tIns="288000" rIns="72000" anchor="t" anchorCtr="0">
            <a:no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44C703-2A71-BA4A-E732-81DACB752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4963" y="4132472"/>
            <a:ext cx="2824926" cy="2042085"/>
          </a:xfrm>
        </p:spPr>
        <p:txBody>
          <a:bodyPr l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1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C09707-436D-7178-1809-A921F20C3A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B1405-E380-FF9F-0773-A59386EAB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C262A-D258-EBC8-E4D4-A0EFACC9E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41318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78E1D-D71E-EA98-BA74-C91DF9691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944563"/>
            <a:ext cx="2824926" cy="5545137"/>
          </a:xfrm>
          <a:solidFill>
            <a:schemeClr val="bg1">
              <a:alpha val="88000"/>
            </a:schemeClr>
          </a:solidFill>
        </p:spPr>
        <p:txBody>
          <a:bodyPr lIns="180000" tIns="288000" rIns="72000" anchor="t" anchorCtr="0">
            <a:no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44C703-2A71-BA4A-E732-81DACB752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4963" y="4132472"/>
            <a:ext cx="2824926" cy="2042085"/>
          </a:xfrm>
        </p:spPr>
        <p:txBody>
          <a:bodyPr l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1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C09707-436D-7178-1809-A921F20C3A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B1405-E380-FF9F-0773-A59386EAB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C262A-D258-EBC8-E4D4-A0EFACC9E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1997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 6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78E1D-D71E-EA98-BA74-C91DF9691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944563"/>
            <a:ext cx="2824926" cy="5545137"/>
          </a:xfrm>
          <a:solidFill>
            <a:schemeClr val="bg1">
              <a:alpha val="88000"/>
            </a:schemeClr>
          </a:solidFill>
        </p:spPr>
        <p:txBody>
          <a:bodyPr lIns="180000" tIns="288000" rIns="72000" anchor="t" anchorCtr="0">
            <a:no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44C703-2A71-BA4A-E732-81DACB752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4963" y="4132472"/>
            <a:ext cx="2824926" cy="2042085"/>
          </a:xfrm>
        </p:spPr>
        <p:txBody>
          <a:bodyPr l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1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C09707-436D-7178-1809-A921F20C3A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B1405-E380-FF9F-0773-A59386EAB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C262A-D258-EBC8-E4D4-A0EFACC9E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4169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 7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78E1D-D71E-EA98-BA74-C91DF9691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944563"/>
            <a:ext cx="2824926" cy="5545137"/>
          </a:xfrm>
          <a:solidFill>
            <a:schemeClr val="bg1">
              <a:alpha val="88000"/>
            </a:schemeClr>
          </a:solidFill>
        </p:spPr>
        <p:txBody>
          <a:bodyPr lIns="180000" tIns="288000" rIns="72000" anchor="t" anchorCtr="0">
            <a:no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44C703-2A71-BA4A-E732-81DACB752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4963" y="4132472"/>
            <a:ext cx="2824926" cy="2042085"/>
          </a:xfrm>
        </p:spPr>
        <p:txBody>
          <a:bodyPr l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1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C09707-436D-7178-1809-A921F20C3A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B1405-E380-FF9F-0773-A59386EAB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C262A-D258-EBC8-E4D4-A0EFACC9E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1750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 8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78E1D-D71E-EA98-BA74-C91DF9691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944563"/>
            <a:ext cx="2824926" cy="5545137"/>
          </a:xfrm>
          <a:solidFill>
            <a:schemeClr val="bg1">
              <a:alpha val="88000"/>
            </a:schemeClr>
          </a:solidFill>
        </p:spPr>
        <p:txBody>
          <a:bodyPr lIns="180000" tIns="288000" rIns="72000" anchor="t" anchorCtr="0">
            <a:no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44C703-2A71-BA4A-E732-81DACB752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4963" y="4132472"/>
            <a:ext cx="2824926" cy="2042085"/>
          </a:xfrm>
        </p:spPr>
        <p:txBody>
          <a:bodyPr l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1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C09707-436D-7178-1809-A921F20C3A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B1405-E380-FF9F-0773-A59386EAB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C262A-D258-EBC8-E4D4-A0EFACC9E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93759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 9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78E1D-D71E-EA98-BA74-C91DF9691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944563"/>
            <a:ext cx="2824926" cy="5545137"/>
          </a:xfrm>
          <a:solidFill>
            <a:schemeClr val="bg1">
              <a:alpha val="88000"/>
            </a:schemeClr>
          </a:solidFill>
        </p:spPr>
        <p:txBody>
          <a:bodyPr lIns="180000" tIns="288000" rIns="72000" anchor="t" anchorCtr="0">
            <a:no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44C703-2A71-BA4A-E732-81DACB752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4963" y="4132472"/>
            <a:ext cx="2824926" cy="2042085"/>
          </a:xfrm>
        </p:spPr>
        <p:txBody>
          <a:bodyPr l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1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C09707-436D-7178-1809-A921F20C3A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B1405-E380-FF9F-0773-A59386EAB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C262A-D258-EBC8-E4D4-A0EFACC9E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58444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 10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78E1D-D71E-EA98-BA74-C91DF9691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944563"/>
            <a:ext cx="2824926" cy="5545137"/>
          </a:xfrm>
          <a:solidFill>
            <a:schemeClr val="bg1">
              <a:alpha val="88000"/>
            </a:schemeClr>
          </a:solidFill>
        </p:spPr>
        <p:txBody>
          <a:bodyPr lIns="180000" tIns="288000" rIns="72000" anchor="t" anchorCtr="0">
            <a:no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44C703-2A71-BA4A-E732-81DACB752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4963" y="4132472"/>
            <a:ext cx="2824926" cy="2042085"/>
          </a:xfrm>
        </p:spPr>
        <p:txBody>
          <a:bodyPr l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1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C09707-436D-7178-1809-A921F20C3A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B1405-E380-FF9F-0773-A59386EAB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C262A-D258-EBC8-E4D4-A0EFACC9E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795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 1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78E1D-D71E-EA98-BA74-C91DF9691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944563"/>
            <a:ext cx="2824926" cy="5545137"/>
          </a:xfrm>
          <a:solidFill>
            <a:schemeClr val="bg1">
              <a:alpha val="88000"/>
            </a:schemeClr>
          </a:solidFill>
        </p:spPr>
        <p:txBody>
          <a:bodyPr lIns="180000" tIns="288000" rIns="72000" anchor="t" anchorCtr="0">
            <a:no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44C703-2A71-BA4A-E732-81DACB752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4963" y="4132472"/>
            <a:ext cx="2824926" cy="2042085"/>
          </a:xfrm>
        </p:spPr>
        <p:txBody>
          <a:bodyPr l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1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C09707-436D-7178-1809-A921F20C3A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B1405-E380-FF9F-0773-A59386EAB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C262A-D258-EBC8-E4D4-A0EFACC9E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63480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C9592-57EE-57CE-F7EA-053D252BD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79" y="2489250"/>
            <a:ext cx="7563434" cy="1347459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defRPr sz="4400" b="0" i="0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8199CE2A-F2CD-21B4-0F02-9F12585F9A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E26D4B-C20E-4333-4C1F-5CA3F09827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3113" y="38369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400" b="0" i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6461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 1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78E1D-D71E-EA98-BA74-C91DF9691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944563"/>
            <a:ext cx="2824926" cy="5545137"/>
          </a:xfrm>
          <a:solidFill>
            <a:schemeClr val="bg1">
              <a:alpha val="88000"/>
            </a:schemeClr>
          </a:solidFill>
        </p:spPr>
        <p:txBody>
          <a:bodyPr lIns="180000" tIns="288000" rIns="72000" anchor="t" anchorCtr="0">
            <a:no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44C703-2A71-BA4A-E732-81DACB752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4963" y="4132472"/>
            <a:ext cx="2824926" cy="2042085"/>
          </a:xfrm>
        </p:spPr>
        <p:txBody>
          <a:bodyPr l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1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C09707-436D-7178-1809-A921F20C3A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B1405-E380-FF9F-0773-A59386EAB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C262A-D258-EBC8-E4D4-A0EFACC9E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8878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 1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78E1D-D71E-EA98-BA74-C91DF9691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944563"/>
            <a:ext cx="2824926" cy="5545137"/>
          </a:xfrm>
          <a:solidFill>
            <a:schemeClr val="bg1">
              <a:alpha val="88000"/>
            </a:schemeClr>
          </a:solidFill>
        </p:spPr>
        <p:txBody>
          <a:bodyPr lIns="180000" tIns="288000" rIns="72000" anchor="t" anchorCtr="0">
            <a:no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44C703-2A71-BA4A-E732-81DACB752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4963" y="4132472"/>
            <a:ext cx="2824926" cy="2042085"/>
          </a:xfrm>
        </p:spPr>
        <p:txBody>
          <a:bodyPr l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1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C09707-436D-7178-1809-A921F20C3A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B1405-E380-FF9F-0773-A59386EAB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C262A-D258-EBC8-E4D4-A0EFACC9E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1130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 1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78E1D-D71E-EA98-BA74-C91DF9691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944563"/>
            <a:ext cx="2824926" cy="5545137"/>
          </a:xfrm>
          <a:solidFill>
            <a:schemeClr val="bg1">
              <a:alpha val="88000"/>
            </a:schemeClr>
          </a:solidFill>
        </p:spPr>
        <p:txBody>
          <a:bodyPr lIns="180000" tIns="288000" rIns="72000" anchor="t" anchorCtr="0">
            <a:no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44C703-2A71-BA4A-E732-81DACB752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4963" y="4132472"/>
            <a:ext cx="2824926" cy="2042085"/>
          </a:xfrm>
        </p:spPr>
        <p:txBody>
          <a:bodyPr lIns="180000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1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C09707-436D-7178-1809-A921F20C3A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B1405-E380-FF9F-0773-A59386EAB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C262A-D258-EBC8-E4D4-A0EFACC9E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54241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x Text Left, 1x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6495B4D-206F-8CEB-FBF5-9C51AEAC536E}"/>
              </a:ext>
            </a:extLst>
          </p:cNvPr>
          <p:cNvSpPr/>
          <p:nvPr/>
        </p:nvSpPr>
        <p:spPr>
          <a:xfrm>
            <a:off x="334964" y="944563"/>
            <a:ext cx="2814637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2EDB38-044D-A496-9AA6-A4DD8AA7042C}"/>
              </a:ext>
            </a:extLst>
          </p:cNvPr>
          <p:cNvSpPr/>
          <p:nvPr/>
        </p:nvSpPr>
        <p:spPr>
          <a:xfrm>
            <a:off x="3251200" y="944563"/>
            <a:ext cx="8605838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1D244D-D219-4154-3D6F-2A8D77723A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6501" y="1332000"/>
            <a:ext cx="7929563" cy="688157"/>
          </a:xfrm>
        </p:spPr>
        <p:txBody>
          <a:bodyPr/>
          <a:lstStyle/>
          <a:p>
            <a:r>
              <a:rPr lang="en-GB"/>
              <a:t>Click to edit TIT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C37F95-2DC3-8A88-3F0E-7A9B35BEEF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6501" y="2052001"/>
            <a:ext cx="7929563" cy="42567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4CF14B-1DF0-ACF6-A728-FAB0247394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D4496F-DAFE-3C37-D1F3-7C62B903E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ABCE19-1CEC-89B0-FD9B-152C77B78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314606C-8B15-5754-2E8A-A0D7EC1985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1332001"/>
            <a:ext cx="2578832" cy="70167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 cap="all" baseline="0"/>
            </a:lvl1pPr>
            <a:lvl2pPr marL="0" indent="0">
              <a:spcAft>
                <a:spcPts val="0"/>
              </a:spcAft>
              <a:buNone/>
              <a:defRPr sz="1800" cap="all" baseline="0"/>
            </a:lvl2pPr>
            <a:lvl3pPr marL="0" indent="0">
              <a:spcAft>
                <a:spcPts val="0"/>
              </a:spcAft>
              <a:buNone/>
              <a:defRPr sz="1800" cap="all" baseline="0"/>
            </a:lvl3pPr>
            <a:lvl4pPr marL="0" indent="0">
              <a:spcAft>
                <a:spcPts val="0"/>
              </a:spcAft>
              <a:buNone/>
              <a:defRPr sz="1800" cap="all" baseline="0"/>
            </a:lvl4pPr>
            <a:lvl5pPr marL="0" indent="0">
              <a:spcAft>
                <a:spcPts val="0"/>
              </a:spcAft>
              <a:buNone/>
              <a:defRPr sz="1800" cap="all" baseline="0"/>
            </a:lvl5pPr>
          </a:lstStyle>
          <a:p>
            <a:pPr lvl="0"/>
            <a:r>
              <a:rPr lang="en-GB"/>
              <a:t>Click to edit TIT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9A485D4-2218-1005-3DC4-E3270E473C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999" y="2052001"/>
            <a:ext cx="2578833" cy="425672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5725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821F4B4-A0D0-F9AE-4616-B7ABCEBFBD39}"/>
              </a:ext>
            </a:extLst>
          </p:cNvPr>
          <p:cNvSpPr/>
          <p:nvPr/>
        </p:nvSpPr>
        <p:spPr>
          <a:xfrm>
            <a:off x="334964" y="944563"/>
            <a:ext cx="5684837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6B8E88-36A3-346F-AADD-72E3EE1DDBDD}"/>
              </a:ext>
            </a:extLst>
          </p:cNvPr>
          <p:cNvSpPr/>
          <p:nvPr/>
        </p:nvSpPr>
        <p:spPr>
          <a:xfrm>
            <a:off x="6172200" y="944563"/>
            <a:ext cx="5689601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E04BDA7-F5EB-D2EA-BDA9-67A1E7B89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332000"/>
            <a:ext cx="5318760" cy="68815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7BCD35-816A-3B75-CC86-FA8C8D85DCC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001" y="2052001"/>
            <a:ext cx="5318761" cy="42567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7598A4-0BB0-65C0-0B22-9C4E8E2BF4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0000" y="2052001"/>
            <a:ext cx="5376063" cy="42567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6CBEA2-D70C-AAA8-103B-01F55E817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4D8E04-C90A-FD45-5360-C86C50296E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D08901-624A-641E-8D0D-ED23E09E8E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3AD4476B-ACF1-A98E-91AF-D16084C3F1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00000" y="1332001"/>
            <a:ext cx="5376063" cy="70167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 cap="all" baseline="0"/>
            </a:lvl1pPr>
            <a:lvl2pPr marL="0" indent="0">
              <a:spcAft>
                <a:spcPts val="0"/>
              </a:spcAft>
              <a:buNone/>
              <a:defRPr sz="1800" cap="all" baseline="0"/>
            </a:lvl2pPr>
            <a:lvl3pPr marL="0" indent="0">
              <a:spcAft>
                <a:spcPts val="0"/>
              </a:spcAft>
              <a:buNone/>
              <a:defRPr sz="1800" cap="all" baseline="0"/>
            </a:lvl3pPr>
            <a:lvl4pPr marL="0" indent="0">
              <a:spcAft>
                <a:spcPts val="0"/>
              </a:spcAft>
              <a:buNone/>
              <a:defRPr sz="1800" cap="all" baseline="0"/>
            </a:lvl4pPr>
            <a:lvl5pPr marL="0" indent="0">
              <a:spcAft>
                <a:spcPts val="0"/>
              </a:spcAft>
              <a:buNone/>
              <a:defRPr sz="1800" cap="all" baseline="0"/>
            </a:lvl5pPr>
          </a:lstStyle>
          <a:p>
            <a:pPr lvl="0"/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5074146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x Content Left, 1x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B210FF7-E1D1-657A-95F2-A66E5BC459ED}"/>
              </a:ext>
            </a:extLst>
          </p:cNvPr>
          <p:cNvSpPr/>
          <p:nvPr/>
        </p:nvSpPr>
        <p:spPr>
          <a:xfrm>
            <a:off x="334964" y="944563"/>
            <a:ext cx="2814637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604929-019C-99DB-36DB-D7D941577C9A}"/>
              </a:ext>
            </a:extLst>
          </p:cNvPr>
          <p:cNvSpPr/>
          <p:nvPr/>
        </p:nvSpPr>
        <p:spPr>
          <a:xfrm>
            <a:off x="3253582" y="944563"/>
            <a:ext cx="2814637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505FA0-95E4-71C3-D3FE-5218175908E1}"/>
              </a:ext>
            </a:extLst>
          </p:cNvPr>
          <p:cNvSpPr/>
          <p:nvPr/>
        </p:nvSpPr>
        <p:spPr>
          <a:xfrm>
            <a:off x="6172200" y="944563"/>
            <a:ext cx="5689601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0B979D-FB32-6536-EAA7-315A68F03D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0" y="1332000"/>
            <a:ext cx="5376063" cy="688157"/>
          </a:xfrm>
        </p:spPr>
        <p:txBody>
          <a:bodyPr/>
          <a:lstStyle/>
          <a:p>
            <a:r>
              <a:rPr lang="en-GB"/>
              <a:t>Click to edit tit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D1B8BB-3DA6-F79B-0C05-E3A8AE0554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8D27A2-A40A-2B36-4A82-50F4F53E6A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104568-F889-26AF-D4B8-4534B566F7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B072E379-42A1-1FF8-070F-4B485045C9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0000" y="2052001"/>
            <a:ext cx="5376063" cy="425672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7C024744-CFA2-9D50-0E47-7DBD87A6C79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5907" y="2052001"/>
            <a:ext cx="2574925" cy="425672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19DB4DA1-B29D-028A-FE02-CE18CC42479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354652" y="2052001"/>
            <a:ext cx="2574925" cy="425672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97384D9-0330-E38A-EDB9-9AB8620743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00" y="1332001"/>
            <a:ext cx="2578832" cy="70167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 cap="all" baseline="0"/>
            </a:lvl1pPr>
            <a:lvl2pPr marL="0" indent="0">
              <a:spcAft>
                <a:spcPts val="0"/>
              </a:spcAft>
              <a:buNone/>
              <a:defRPr sz="1800" cap="all" baseline="0"/>
            </a:lvl2pPr>
            <a:lvl3pPr marL="0" indent="0">
              <a:spcAft>
                <a:spcPts val="0"/>
              </a:spcAft>
              <a:buNone/>
              <a:defRPr sz="1800" cap="all" baseline="0"/>
            </a:lvl3pPr>
            <a:lvl4pPr marL="0" indent="0">
              <a:spcAft>
                <a:spcPts val="0"/>
              </a:spcAft>
              <a:buNone/>
              <a:defRPr sz="1800" cap="all" baseline="0"/>
            </a:lvl4pPr>
            <a:lvl5pPr marL="0" indent="0">
              <a:spcAft>
                <a:spcPts val="0"/>
              </a:spcAft>
              <a:buNone/>
              <a:defRPr sz="1800" cap="all" baseline="0"/>
            </a:lvl5pPr>
          </a:lstStyle>
          <a:p>
            <a:pPr lvl="0"/>
            <a:r>
              <a:rPr lang="en-GB"/>
              <a:t>Click to edit TITL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20754E2F-D7E4-DC64-BBA3-6DC6166609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2698" y="1332001"/>
            <a:ext cx="2578832" cy="70167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 cap="all" baseline="0"/>
            </a:lvl1pPr>
            <a:lvl2pPr marL="0" indent="0">
              <a:spcAft>
                <a:spcPts val="0"/>
              </a:spcAft>
              <a:buNone/>
              <a:defRPr sz="1800" cap="all" baseline="0"/>
            </a:lvl2pPr>
            <a:lvl3pPr marL="0" indent="0">
              <a:spcAft>
                <a:spcPts val="0"/>
              </a:spcAft>
              <a:buNone/>
              <a:defRPr sz="1800" cap="all" baseline="0"/>
            </a:lvl3pPr>
            <a:lvl4pPr marL="0" indent="0">
              <a:spcAft>
                <a:spcPts val="0"/>
              </a:spcAft>
              <a:buNone/>
              <a:defRPr sz="1800" cap="all" baseline="0"/>
            </a:lvl4pPr>
            <a:lvl5pPr marL="0" indent="0">
              <a:spcAft>
                <a:spcPts val="0"/>
              </a:spcAft>
              <a:buNone/>
              <a:defRPr sz="1800" cap="all" baseline="0"/>
            </a:lvl5pPr>
          </a:lstStyle>
          <a:p>
            <a:pPr lvl="0"/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0747505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5A55DAD8-F372-D0E0-E8C2-5C41A4A20840}"/>
              </a:ext>
            </a:extLst>
          </p:cNvPr>
          <p:cNvSpPr/>
          <p:nvPr/>
        </p:nvSpPr>
        <p:spPr>
          <a:xfrm>
            <a:off x="334964" y="944563"/>
            <a:ext cx="2814637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6E8B4BA-5C00-8434-8A10-6A1420348F32}"/>
              </a:ext>
            </a:extLst>
          </p:cNvPr>
          <p:cNvSpPr/>
          <p:nvPr/>
        </p:nvSpPr>
        <p:spPr>
          <a:xfrm>
            <a:off x="3234797" y="944563"/>
            <a:ext cx="2814637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6A5BBD8-A3C6-76C7-4C7A-65F6AFA589A7}"/>
              </a:ext>
            </a:extLst>
          </p:cNvPr>
          <p:cNvSpPr/>
          <p:nvPr/>
        </p:nvSpPr>
        <p:spPr>
          <a:xfrm>
            <a:off x="6134630" y="944563"/>
            <a:ext cx="2814637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F8C63D0-C8E7-D877-7A64-8749878CA02E}"/>
              </a:ext>
            </a:extLst>
          </p:cNvPr>
          <p:cNvSpPr/>
          <p:nvPr/>
        </p:nvSpPr>
        <p:spPr>
          <a:xfrm>
            <a:off x="9034464" y="944563"/>
            <a:ext cx="2814637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2B2328-22D3-51BA-25EF-66FBBDD7C7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1332000"/>
            <a:ext cx="2575561" cy="688157"/>
          </a:xfrm>
        </p:spPr>
        <p:txBody>
          <a:bodyPr/>
          <a:lstStyle/>
          <a:p>
            <a:r>
              <a:rPr lang="en-GB"/>
              <a:t>Click to edit tit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EA9E9-7692-07BF-3E78-2A7B8997CD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DB6938-4D3D-6FA5-1DAA-82BD829225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67BF24-3C45-E97F-8545-DA3FFC214F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380E5DB0-358C-C2CC-2C65-2D7890442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2001" y="2052001"/>
            <a:ext cx="2574925" cy="425672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E090F803-2E4A-1A6E-50C0-B4C37BDA69A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354652" y="2052001"/>
            <a:ext cx="2574925" cy="425672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897B34A2-69B5-EA54-131B-12071F7C0F9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3339" y="2052001"/>
            <a:ext cx="2574925" cy="425672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76D13B64-7827-6884-47BE-B9B48959220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154320" y="2052001"/>
            <a:ext cx="2521744" cy="425672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788D762B-304D-7023-9CFC-FA9F118366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52698" y="1332001"/>
            <a:ext cx="2578832" cy="70167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 cap="all" baseline="0"/>
            </a:lvl1pPr>
            <a:lvl2pPr marL="0" indent="0">
              <a:spcAft>
                <a:spcPts val="0"/>
              </a:spcAft>
              <a:buNone/>
              <a:defRPr sz="1800" cap="all" baseline="0"/>
            </a:lvl2pPr>
            <a:lvl3pPr marL="0" indent="0">
              <a:spcAft>
                <a:spcPts val="0"/>
              </a:spcAft>
              <a:buNone/>
              <a:defRPr sz="1800" cap="all" baseline="0"/>
            </a:lvl3pPr>
            <a:lvl4pPr marL="0" indent="0">
              <a:spcAft>
                <a:spcPts val="0"/>
              </a:spcAft>
              <a:buNone/>
              <a:defRPr sz="1800" cap="all" baseline="0"/>
            </a:lvl4pPr>
            <a:lvl5pPr marL="0" indent="0">
              <a:spcAft>
                <a:spcPts val="0"/>
              </a:spcAft>
              <a:buNone/>
              <a:defRPr sz="1800" cap="all" baseline="0"/>
            </a:lvl5pPr>
          </a:lstStyle>
          <a:p>
            <a:pPr lvl="0"/>
            <a:r>
              <a:rPr lang="en-GB"/>
              <a:t>Click to edit TITLE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08A3AA8B-65BF-F81C-61C3-80944C21CE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1385" y="1332001"/>
            <a:ext cx="2578832" cy="70167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 cap="all" baseline="0"/>
            </a:lvl1pPr>
            <a:lvl2pPr marL="0" indent="0">
              <a:spcAft>
                <a:spcPts val="0"/>
              </a:spcAft>
              <a:buNone/>
              <a:defRPr sz="1800" cap="all" baseline="0"/>
            </a:lvl2pPr>
            <a:lvl3pPr marL="0" indent="0">
              <a:spcAft>
                <a:spcPts val="0"/>
              </a:spcAft>
              <a:buNone/>
              <a:defRPr sz="1800" cap="all" baseline="0"/>
            </a:lvl3pPr>
            <a:lvl4pPr marL="0" indent="0">
              <a:spcAft>
                <a:spcPts val="0"/>
              </a:spcAft>
              <a:buNone/>
              <a:defRPr sz="1800" cap="all" baseline="0"/>
            </a:lvl4pPr>
            <a:lvl5pPr marL="0" indent="0">
              <a:spcAft>
                <a:spcPts val="0"/>
              </a:spcAft>
              <a:buNone/>
              <a:defRPr sz="1800" cap="all" baseline="0"/>
            </a:lvl5pPr>
          </a:lstStyle>
          <a:p>
            <a:pPr lvl="0"/>
            <a:r>
              <a:rPr lang="en-GB"/>
              <a:t>Click to edit TITLE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2CE99FF3-A945-D174-CADD-90BF4B80D36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52365" y="1332001"/>
            <a:ext cx="2525570" cy="70167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 cap="all" baseline="0"/>
            </a:lvl1pPr>
            <a:lvl2pPr marL="0" indent="0">
              <a:spcAft>
                <a:spcPts val="0"/>
              </a:spcAft>
              <a:buNone/>
              <a:defRPr sz="1800" cap="all" baseline="0"/>
            </a:lvl2pPr>
            <a:lvl3pPr marL="0" indent="0">
              <a:spcAft>
                <a:spcPts val="0"/>
              </a:spcAft>
              <a:buNone/>
              <a:defRPr sz="1800" cap="all" baseline="0"/>
            </a:lvl3pPr>
            <a:lvl4pPr marL="0" indent="0">
              <a:spcAft>
                <a:spcPts val="0"/>
              </a:spcAft>
              <a:buNone/>
              <a:defRPr sz="1800" cap="all" baseline="0"/>
            </a:lvl4pPr>
            <a:lvl5pPr marL="0" indent="0">
              <a:spcAft>
                <a:spcPts val="0"/>
              </a:spcAft>
              <a:buNone/>
              <a:defRPr sz="1800" cap="all" baseline="0"/>
            </a:lvl5pPr>
          </a:lstStyle>
          <a:p>
            <a:pPr lvl="0"/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69217214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x Content Left, 1x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B99608D-6803-8B00-63CE-5D4EA10D23CF}"/>
              </a:ext>
            </a:extLst>
          </p:cNvPr>
          <p:cNvSpPr/>
          <p:nvPr/>
        </p:nvSpPr>
        <p:spPr>
          <a:xfrm>
            <a:off x="334963" y="944563"/>
            <a:ext cx="5668964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D678F7-A2EB-F6B7-3687-E9BCD0EEB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1332000"/>
            <a:ext cx="5374911" cy="68815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8C9BB3-55DD-6E48-D88C-412A07A9CC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BBA630-F6E9-E50F-988A-E8E6EBB9BC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11D6D1-51B2-4354-8F10-8611A6FD0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10">
            <a:extLst>
              <a:ext uri="{FF2B5EF4-FFF2-40B4-BE49-F238E27FC236}">
                <a16:creationId xmlns:a16="http://schemas.microsoft.com/office/drawing/2014/main" id="{F87D17F4-07EB-4256-81D5-85E19D7A777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1999" y="2052001"/>
            <a:ext cx="5374911" cy="425672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A0FE8B-0148-ACBD-80FC-F6DA4C8BCE8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88074" y="944563"/>
            <a:ext cx="5668964" cy="554513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48121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x Content Left, 1x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B99608D-6803-8B00-63CE-5D4EA10D23CF}"/>
              </a:ext>
            </a:extLst>
          </p:cNvPr>
          <p:cNvSpPr/>
          <p:nvPr/>
        </p:nvSpPr>
        <p:spPr>
          <a:xfrm>
            <a:off x="334964" y="944563"/>
            <a:ext cx="2814637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D51C409-6FB3-C76F-CF64-8D5162BB70B3}"/>
              </a:ext>
            </a:extLst>
          </p:cNvPr>
          <p:cNvSpPr/>
          <p:nvPr/>
        </p:nvSpPr>
        <p:spPr>
          <a:xfrm>
            <a:off x="3234797" y="944563"/>
            <a:ext cx="2814637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D678F7-A2EB-F6B7-3687-E9BCD0EEB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1" y="1332000"/>
            <a:ext cx="2574925" cy="68815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8C9BB3-55DD-6E48-D88C-412A07A9CC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BBA630-F6E9-E50F-988A-E8E6EBB9BC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11D6D1-51B2-4354-8F10-8611A6FD0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10">
            <a:extLst>
              <a:ext uri="{FF2B5EF4-FFF2-40B4-BE49-F238E27FC236}">
                <a16:creationId xmlns:a16="http://schemas.microsoft.com/office/drawing/2014/main" id="{F87D17F4-07EB-4256-81D5-85E19D7A777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2001" y="2052001"/>
            <a:ext cx="2574925" cy="425672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3EF920A9-B398-1E13-697A-00D6657C8A6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354652" y="2052001"/>
            <a:ext cx="2574925" cy="425672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7D4B24DB-2753-C8C7-0722-8349700C09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52698" y="1332001"/>
            <a:ext cx="2578832" cy="70167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 cap="all" baseline="0"/>
            </a:lvl1pPr>
            <a:lvl2pPr marL="0" indent="0">
              <a:spcAft>
                <a:spcPts val="0"/>
              </a:spcAft>
              <a:buNone/>
              <a:defRPr sz="1800" cap="all" baseline="0"/>
            </a:lvl2pPr>
            <a:lvl3pPr marL="0" indent="0">
              <a:spcAft>
                <a:spcPts val="0"/>
              </a:spcAft>
              <a:buNone/>
              <a:defRPr sz="1800" cap="all" baseline="0"/>
            </a:lvl3pPr>
            <a:lvl4pPr marL="0" indent="0">
              <a:spcAft>
                <a:spcPts val="0"/>
              </a:spcAft>
              <a:buNone/>
              <a:defRPr sz="1800" cap="all" baseline="0"/>
            </a:lvl4pPr>
            <a:lvl5pPr marL="0" indent="0">
              <a:spcAft>
                <a:spcPts val="0"/>
              </a:spcAft>
              <a:buNone/>
              <a:defRPr sz="1800" cap="all" baseline="0"/>
            </a:lvl5pPr>
          </a:lstStyle>
          <a:p>
            <a:pPr lvl="0"/>
            <a:r>
              <a:rPr lang="en-GB"/>
              <a:t>Click to edit TITL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A0FE8B-0148-ACBD-80FC-F6DA4C8BCE8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88074" y="944563"/>
            <a:ext cx="5668964" cy="554513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7765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x Image Left, 1x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E2E089A-8834-602B-4E1C-0E972B7C926E}"/>
              </a:ext>
            </a:extLst>
          </p:cNvPr>
          <p:cNvSpPr/>
          <p:nvPr/>
        </p:nvSpPr>
        <p:spPr>
          <a:xfrm>
            <a:off x="6198435" y="944563"/>
            <a:ext cx="5668964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22D8E-2CF4-7DE3-C451-1BF2DD5F3B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0" y="1332000"/>
            <a:ext cx="5376063" cy="68815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5A7AA1-91EE-4805-A9B6-AAF99DE74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A5B15A-3E6A-272E-2134-6A95617605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0A95D3-EF0B-E311-3AA4-EB1E8690C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10">
            <a:extLst>
              <a:ext uri="{FF2B5EF4-FFF2-40B4-BE49-F238E27FC236}">
                <a16:creationId xmlns:a16="http://schemas.microsoft.com/office/drawing/2014/main" id="{2BC73265-7B5E-5977-2548-CD7E0F6A0EA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00000" y="2052001"/>
            <a:ext cx="5376063" cy="425672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8886D42-D705-EE6E-11AB-931AD2077C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34963" y="944563"/>
            <a:ext cx="5668964" cy="554513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470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C9592-57EE-57CE-F7EA-053D252BD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79" y="2489250"/>
            <a:ext cx="7563434" cy="1347459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defRPr sz="4400" b="0" i="0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8199CE2A-F2CD-21B4-0F02-9F12585F9A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E26D4B-C20E-4333-4C1F-5CA3F09827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3113" y="38369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400" b="0" i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925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x Image Left, 2x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A2DB93D-0CAB-066F-8707-E76906106F0C}"/>
              </a:ext>
            </a:extLst>
          </p:cNvPr>
          <p:cNvSpPr/>
          <p:nvPr/>
        </p:nvSpPr>
        <p:spPr>
          <a:xfrm>
            <a:off x="6134630" y="944563"/>
            <a:ext cx="2814637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1D93B70-4A22-6BE3-F47C-67545D7E89EC}"/>
              </a:ext>
            </a:extLst>
          </p:cNvPr>
          <p:cNvSpPr/>
          <p:nvPr/>
        </p:nvSpPr>
        <p:spPr>
          <a:xfrm>
            <a:off x="9034464" y="944563"/>
            <a:ext cx="2814637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E22D8E-2CF4-7DE3-C451-1BF2DD5F3B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0" y="1332000"/>
            <a:ext cx="2501394" cy="688157"/>
          </a:xfrm>
        </p:spPr>
        <p:txBody>
          <a:bodyPr/>
          <a:lstStyle/>
          <a:p>
            <a:r>
              <a:rPr lang="en-GB"/>
              <a:t>Click to edit tit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5A7AA1-91EE-4805-A9B6-AAF99DE74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A5B15A-3E6A-272E-2134-6A95617605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0A95D3-EF0B-E311-3AA4-EB1E8690C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8886D42-D705-EE6E-11AB-931AD2077C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34963" y="944563"/>
            <a:ext cx="5668964" cy="5545137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C87DCBA6-0FA2-5C6D-4D79-1841665E07B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00000" y="2052001"/>
            <a:ext cx="2574925" cy="425672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5935FB14-E149-54AF-9C61-926D9E0082A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121776" y="2052001"/>
            <a:ext cx="2574925" cy="425672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8EE9EF9-1CA2-E685-02BD-53A004846C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17868" y="1332001"/>
            <a:ext cx="2578832" cy="70167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 cap="all" baseline="0"/>
            </a:lvl1pPr>
            <a:lvl2pPr marL="0" indent="0">
              <a:spcAft>
                <a:spcPts val="0"/>
              </a:spcAft>
              <a:buNone/>
              <a:defRPr sz="1800" cap="all" baseline="0"/>
            </a:lvl2pPr>
            <a:lvl3pPr marL="0" indent="0">
              <a:spcAft>
                <a:spcPts val="0"/>
              </a:spcAft>
              <a:buNone/>
              <a:defRPr sz="1800" cap="all" baseline="0"/>
            </a:lvl3pPr>
            <a:lvl4pPr marL="0" indent="0">
              <a:spcAft>
                <a:spcPts val="0"/>
              </a:spcAft>
              <a:buNone/>
              <a:defRPr sz="1800" cap="all" baseline="0"/>
            </a:lvl4pPr>
            <a:lvl5pPr marL="0" indent="0">
              <a:spcAft>
                <a:spcPts val="0"/>
              </a:spcAft>
              <a:buNone/>
              <a:defRPr sz="1800" cap="all" baseline="0"/>
            </a:lvl5pPr>
          </a:lstStyle>
          <a:p>
            <a:pPr lvl="0"/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0184601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x Content Left, 4x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B99608D-6803-8B00-63CE-5D4EA10D23CF}"/>
              </a:ext>
            </a:extLst>
          </p:cNvPr>
          <p:cNvSpPr/>
          <p:nvPr/>
        </p:nvSpPr>
        <p:spPr>
          <a:xfrm>
            <a:off x="334963" y="944563"/>
            <a:ext cx="5668964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D678F7-A2EB-F6B7-3687-E9BCD0EEB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332000"/>
            <a:ext cx="5308400" cy="68815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8C9BB3-55DD-6E48-D88C-412A07A9CC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BBA630-F6E9-E50F-988A-E8E6EBB9BC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11D6D1-51B2-4354-8F10-8611A6FD0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10">
            <a:extLst>
              <a:ext uri="{FF2B5EF4-FFF2-40B4-BE49-F238E27FC236}">
                <a16:creationId xmlns:a16="http://schemas.microsoft.com/office/drawing/2014/main" id="{F87D17F4-07EB-4256-81D5-85E19D7A777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2000" y="2052001"/>
            <a:ext cx="5308400" cy="425672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A0FE8B-0148-ACBD-80FC-F6DA4C8BCE8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88074" y="952502"/>
            <a:ext cx="2743200" cy="268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4875FD92-D23B-9E86-3420-AD0055AA0C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13838" y="952500"/>
            <a:ext cx="2743200" cy="268200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6DA7813C-09B7-552C-D71D-7A498B9D50D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8074" y="3813274"/>
            <a:ext cx="2743200" cy="268200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D5891E5D-50D9-F8D3-5048-0DC0B35F478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13838" y="3813273"/>
            <a:ext cx="2743200" cy="2682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5588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x Content Left, 4x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96F5F1D-5E51-9D52-CB3D-A5AEF977CA5D}"/>
              </a:ext>
            </a:extLst>
          </p:cNvPr>
          <p:cNvSpPr/>
          <p:nvPr/>
        </p:nvSpPr>
        <p:spPr>
          <a:xfrm>
            <a:off x="334964" y="944563"/>
            <a:ext cx="2814637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144E59B-5F68-98B2-2617-D3964974BB4F}"/>
              </a:ext>
            </a:extLst>
          </p:cNvPr>
          <p:cNvSpPr/>
          <p:nvPr/>
        </p:nvSpPr>
        <p:spPr>
          <a:xfrm>
            <a:off x="3234797" y="944563"/>
            <a:ext cx="2814637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D678F7-A2EB-F6B7-3687-E9BCD0EEB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1" y="1332000"/>
            <a:ext cx="2574925" cy="68815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8C9BB3-55DD-6E48-D88C-412A07A9CC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BBA630-F6E9-E50F-988A-E8E6EBB9BC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11D6D1-51B2-4354-8F10-8611A6FD0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A0FE8B-0148-ACBD-80FC-F6DA4C8BCE8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88074" y="952502"/>
            <a:ext cx="2743200" cy="268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4875FD92-D23B-9E86-3420-AD0055AA0C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13838" y="952500"/>
            <a:ext cx="2743200" cy="268200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6DA7813C-09B7-552C-D71D-7A498B9D50D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8074" y="3813274"/>
            <a:ext cx="2743200" cy="268200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D5891E5D-50D9-F8D3-5048-0DC0B35F478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13838" y="3813273"/>
            <a:ext cx="2743200" cy="2682000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004D7EE4-9CB2-4EA6-EB1D-961AC81E315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2001" y="2052001"/>
            <a:ext cx="2574925" cy="425672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5" name="Content Placeholder 10">
            <a:extLst>
              <a:ext uri="{FF2B5EF4-FFF2-40B4-BE49-F238E27FC236}">
                <a16:creationId xmlns:a16="http://schemas.microsoft.com/office/drawing/2014/main" id="{8685C3A2-1D60-7ECE-187F-0CDE50CB129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354652" y="2052001"/>
            <a:ext cx="2574925" cy="425672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024ED12C-6D32-968B-7FB9-72E40C7EB1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52698" y="1332001"/>
            <a:ext cx="2578832" cy="70167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 cap="all" baseline="0"/>
            </a:lvl1pPr>
            <a:lvl2pPr marL="0" indent="0">
              <a:spcAft>
                <a:spcPts val="0"/>
              </a:spcAft>
              <a:buNone/>
              <a:defRPr sz="1800" cap="all" baseline="0"/>
            </a:lvl2pPr>
            <a:lvl3pPr marL="0" indent="0">
              <a:spcAft>
                <a:spcPts val="0"/>
              </a:spcAft>
              <a:buNone/>
              <a:defRPr sz="1800" cap="all" baseline="0"/>
            </a:lvl3pPr>
            <a:lvl4pPr marL="0" indent="0">
              <a:spcAft>
                <a:spcPts val="0"/>
              </a:spcAft>
              <a:buNone/>
              <a:defRPr sz="1800" cap="all" baseline="0"/>
            </a:lvl4pPr>
            <a:lvl5pPr marL="0" indent="0">
              <a:spcAft>
                <a:spcPts val="0"/>
              </a:spcAft>
              <a:buNone/>
              <a:defRPr sz="1800" cap="all" baseline="0"/>
            </a:lvl5pPr>
          </a:lstStyle>
          <a:p>
            <a:pPr lvl="0"/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4887763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Quot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882EDB-8426-7A85-9AAA-2AC2BE3C7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5E87B-6099-6961-1DF4-588355F12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3EFABE-1A5D-15CA-4743-667988B55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DB58723-2B97-171D-5284-C0AF3CF1B0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944563"/>
            <a:ext cx="11522075" cy="5545137"/>
          </a:xfrm>
          <a:solidFill>
            <a:schemeClr val="bg1">
              <a:alpha val="80000"/>
            </a:schemeClr>
          </a:solidFill>
        </p:spPr>
        <p:txBody>
          <a:bodyPr lIns="2015999" rIns="2015999" anchor="ctr" anchorCtr="0"/>
          <a:lstStyle>
            <a:lvl1pPr marL="0" indent="0" algn="ctr">
              <a:buFont typeface="Arial" panose="020B0604020202020204" pitchFamily="34" charset="0"/>
              <a:buNone/>
              <a:tabLst/>
              <a:defRPr sz="3000"/>
            </a:lvl1pPr>
            <a:lvl2pPr marL="0" indent="0" algn="ctr">
              <a:buNone/>
              <a:tabLst/>
              <a:defRPr cap="all" baseline="0"/>
            </a:lvl2pPr>
            <a:lvl3pPr marL="0" indent="0" algn="ctr">
              <a:buNone/>
              <a:tabLst/>
              <a:defRPr cap="all" baseline="0"/>
            </a:lvl3pPr>
            <a:lvl4pPr marL="0" indent="0" algn="ctr">
              <a:buNone/>
              <a:tabLst/>
              <a:defRPr cap="all" baseline="0"/>
            </a:lvl4pPr>
            <a:lvl5pPr marL="0" indent="0" algn="ctr">
              <a:buNone/>
              <a:tabLst/>
              <a:defRPr cap="all" baseline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21768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Quot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882EDB-8426-7A85-9AAA-2AC2BE3C7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5E87B-6099-6961-1DF4-588355F12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3EFABE-1A5D-15CA-4743-667988B55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EAA75AB-46D1-E6F9-3698-7E1C9E4191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944563"/>
            <a:ext cx="11522075" cy="5545137"/>
          </a:xfrm>
          <a:solidFill>
            <a:schemeClr val="bg1">
              <a:alpha val="80000"/>
            </a:schemeClr>
          </a:solidFill>
        </p:spPr>
        <p:txBody>
          <a:bodyPr lIns="2015999" rIns="2015999" anchor="ctr" anchorCtr="0"/>
          <a:lstStyle>
            <a:lvl1pPr marL="0" indent="0" algn="ctr">
              <a:buFont typeface="Arial" panose="020B0604020202020204" pitchFamily="34" charset="0"/>
              <a:buNone/>
              <a:tabLst/>
              <a:defRPr sz="3000"/>
            </a:lvl1pPr>
            <a:lvl2pPr marL="0" indent="0" algn="ctr">
              <a:buNone/>
              <a:tabLst/>
              <a:defRPr cap="all" baseline="0"/>
            </a:lvl2pPr>
            <a:lvl3pPr marL="0" indent="0" algn="ctr">
              <a:buNone/>
              <a:tabLst/>
              <a:defRPr cap="all" baseline="0"/>
            </a:lvl3pPr>
            <a:lvl4pPr marL="0" indent="0" algn="ctr">
              <a:buNone/>
              <a:tabLst/>
              <a:defRPr cap="all" baseline="0"/>
            </a:lvl4pPr>
            <a:lvl5pPr marL="0" indent="0" algn="ctr">
              <a:buNone/>
              <a:tabLst/>
              <a:defRPr cap="all" baseline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23011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Quot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882EDB-8426-7A85-9AAA-2AC2BE3C7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5E87B-6099-6961-1DF4-588355F12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3EFABE-1A5D-15CA-4743-667988B55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A8E4F42-D875-62CE-C3D2-9E89D616C3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944563"/>
            <a:ext cx="11522075" cy="5545137"/>
          </a:xfrm>
          <a:solidFill>
            <a:schemeClr val="bg1">
              <a:alpha val="80000"/>
            </a:schemeClr>
          </a:solidFill>
        </p:spPr>
        <p:txBody>
          <a:bodyPr lIns="2015999" rIns="2015999" anchor="ctr" anchorCtr="0"/>
          <a:lstStyle>
            <a:lvl1pPr marL="0" indent="0" algn="ctr">
              <a:buFont typeface="Arial" panose="020B0604020202020204" pitchFamily="34" charset="0"/>
              <a:buNone/>
              <a:tabLst/>
              <a:defRPr sz="3000"/>
            </a:lvl1pPr>
            <a:lvl2pPr marL="0" indent="0" algn="ctr">
              <a:buNone/>
              <a:tabLst/>
              <a:defRPr cap="all" baseline="0"/>
            </a:lvl2pPr>
            <a:lvl3pPr marL="0" indent="0" algn="ctr">
              <a:buNone/>
              <a:tabLst/>
              <a:defRPr cap="all" baseline="0"/>
            </a:lvl3pPr>
            <a:lvl4pPr marL="0" indent="0" algn="ctr">
              <a:buNone/>
              <a:tabLst/>
              <a:defRPr cap="all" baseline="0"/>
            </a:lvl4pPr>
            <a:lvl5pPr marL="0" indent="0" algn="ctr">
              <a:buNone/>
              <a:tabLst/>
              <a:defRPr cap="all" baseline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0261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Quote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882EDB-8426-7A85-9AAA-2AC2BE3C7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5E87B-6099-6961-1DF4-588355F12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3EFABE-1A5D-15CA-4743-667988B55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A3DAF1D1-3825-5F03-F962-6BD96494A1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944563"/>
            <a:ext cx="11522075" cy="5545137"/>
          </a:xfrm>
          <a:solidFill>
            <a:schemeClr val="bg1">
              <a:alpha val="80000"/>
            </a:schemeClr>
          </a:solidFill>
        </p:spPr>
        <p:txBody>
          <a:bodyPr lIns="2015999" rIns="2015999" anchor="ctr" anchorCtr="0"/>
          <a:lstStyle>
            <a:lvl1pPr marL="0" indent="0" algn="ctr">
              <a:buFont typeface="Arial" panose="020B0604020202020204" pitchFamily="34" charset="0"/>
              <a:buNone/>
              <a:tabLst/>
              <a:defRPr sz="3000"/>
            </a:lvl1pPr>
            <a:lvl2pPr marL="0" indent="0" algn="ctr">
              <a:buNone/>
              <a:tabLst/>
              <a:defRPr cap="all" baseline="0"/>
            </a:lvl2pPr>
            <a:lvl3pPr marL="0" indent="0" algn="ctr">
              <a:buNone/>
              <a:tabLst/>
              <a:defRPr cap="all" baseline="0"/>
            </a:lvl3pPr>
            <a:lvl4pPr marL="0" indent="0" algn="ctr">
              <a:buNone/>
              <a:tabLst/>
              <a:defRPr cap="all" baseline="0"/>
            </a:lvl4pPr>
            <a:lvl5pPr marL="0" indent="0" algn="ctr">
              <a:buNone/>
              <a:tabLst/>
              <a:defRPr cap="all" baseline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98330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Quote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882EDB-8426-7A85-9AAA-2AC2BE3C7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5E87B-6099-6961-1DF4-588355F12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3EFABE-1A5D-15CA-4743-667988B55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05688B3-570A-91EE-F109-D0C6D541F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944563"/>
            <a:ext cx="11522075" cy="5545137"/>
          </a:xfrm>
          <a:solidFill>
            <a:schemeClr val="bg1">
              <a:alpha val="80000"/>
            </a:schemeClr>
          </a:solidFill>
        </p:spPr>
        <p:txBody>
          <a:bodyPr lIns="2015999" rIns="2015999" anchor="ctr" anchorCtr="0"/>
          <a:lstStyle>
            <a:lvl1pPr marL="0" indent="0" algn="ctr">
              <a:buFont typeface="Arial" panose="020B0604020202020204" pitchFamily="34" charset="0"/>
              <a:buNone/>
              <a:tabLst/>
              <a:defRPr sz="3000"/>
            </a:lvl1pPr>
            <a:lvl2pPr marL="0" indent="0" algn="ctr">
              <a:buNone/>
              <a:tabLst/>
              <a:defRPr cap="all" baseline="0"/>
            </a:lvl2pPr>
            <a:lvl3pPr marL="0" indent="0" algn="ctr">
              <a:buNone/>
              <a:tabLst/>
              <a:defRPr cap="all" baseline="0"/>
            </a:lvl3pPr>
            <a:lvl4pPr marL="0" indent="0" algn="ctr">
              <a:buNone/>
              <a:tabLst/>
              <a:defRPr cap="all" baseline="0"/>
            </a:lvl4pPr>
            <a:lvl5pPr marL="0" indent="0" algn="ctr">
              <a:buNone/>
              <a:tabLst/>
              <a:defRPr cap="all" baseline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2049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Quote 6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882EDB-8426-7A85-9AAA-2AC2BE3C7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5E87B-6099-6961-1DF4-588355F12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3EFABE-1A5D-15CA-4743-667988B55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F3230A98-A459-793C-3EF0-FA0F669D98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944563"/>
            <a:ext cx="11522075" cy="5545137"/>
          </a:xfrm>
          <a:solidFill>
            <a:schemeClr val="bg1">
              <a:alpha val="80000"/>
            </a:schemeClr>
          </a:solidFill>
        </p:spPr>
        <p:txBody>
          <a:bodyPr lIns="2015999" rIns="2015999" anchor="ctr" anchorCtr="0"/>
          <a:lstStyle>
            <a:lvl1pPr marL="0" indent="0" algn="ctr">
              <a:buFont typeface="Arial" panose="020B0604020202020204" pitchFamily="34" charset="0"/>
              <a:buNone/>
              <a:tabLst/>
              <a:defRPr sz="3000"/>
            </a:lvl1pPr>
            <a:lvl2pPr marL="0" indent="0" algn="ctr">
              <a:buNone/>
              <a:tabLst/>
              <a:defRPr cap="all" baseline="0"/>
            </a:lvl2pPr>
            <a:lvl3pPr marL="0" indent="0" algn="ctr">
              <a:buNone/>
              <a:tabLst/>
              <a:defRPr cap="all" baseline="0"/>
            </a:lvl3pPr>
            <a:lvl4pPr marL="0" indent="0" algn="ctr">
              <a:buNone/>
              <a:tabLst/>
              <a:defRPr cap="all" baseline="0"/>
            </a:lvl4pPr>
            <a:lvl5pPr marL="0" indent="0" algn="ctr">
              <a:buNone/>
              <a:tabLst/>
              <a:defRPr cap="all" baseline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8247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Quote 7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882EDB-8426-7A85-9AAA-2AC2BE3C7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5E87B-6099-6961-1DF4-588355F12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3EFABE-1A5D-15CA-4743-667988B55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CC08471F-7F01-F631-78E0-C2A6557E34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944563"/>
            <a:ext cx="11522075" cy="5545137"/>
          </a:xfrm>
          <a:solidFill>
            <a:schemeClr val="bg1">
              <a:alpha val="80000"/>
            </a:schemeClr>
          </a:solidFill>
        </p:spPr>
        <p:txBody>
          <a:bodyPr lIns="2015999" rIns="2015999" anchor="ctr" anchorCtr="0"/>
          <a:lstStyle>
            <a:lvl1pPr marL="0" indent="0" algn="ctr">
              <a:buFont typeface="Arial" panose="020B0604020202020204" pitchFamily="34" charset="0"/>
              <a:buNone/>
              <a:tabLst/>
              <a:defRPr sz="3000"/>
            </a:lvl1pPr>
            <a:lvl2pPr marL="0" indent="0" algn="ctr">
              <a:buNone/>
              <a:tabLst/>
              <a:defRPr cap="all" baseline="0"/>
            </a:lvl2pPr>
            <a:lvl3pPr marL="0" indent="0" algn="ctr">
              <a:buNone/>
              <a:tabLst/>
              <a:defRPr cap="all" baseline="0"/>
            </a:lvl3pPr>
            <a:lvl4pPr marL="0" indent="0" algn="ctr">
              <a:buNone/>
              <a:tabLst/>
              <a:defRPr cap="all" baseline="0"/>
            </a:lvl4pPr>
            <a:lvl5pPr marL="0" indent="0" algn="ctr">
              <a:buNone/>
              <a:tabLst/>
              <a:defRPr cap="all" baseline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7402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C9592-57EE-57CE-F7EA-053D252BD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79" y="2489250"/>
            <a:ext cx="7563434" cy="1347459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defRPr sz="4400" b="0" i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8199CE2A-F2CD-21B4-0F02-9F12585F9A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E26D4B-C20E-4333-4C1F-5CA3F09827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3113" y="38369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400" b="0" i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1917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Quote 8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882EDB-8426-7A85-9AAA-2AC2BE3C7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5E87B-6099-6961-1DF4-588355F12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3EFABE-1A5D-15CA-4743-667988B55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C5E410D4-D0DB-51EE-9F9E-91C22184CC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944563"/>
            <a:ext cx="11522075" cy="5545137"/>
          </a:xfrm>
          <a:solidFill>
            <a:schemeClr val="bg1">
              <a:alpha val="80000"/>
            </a:schemeClr>
          </a:solidFill>
        </p:spPr>
        <p:txBody>
          <a:bodyPr lIns="2015999" rIns="2015999" anchor="ctr" anchorCtr="0"/>
          <a:lstStyle>
            <a:lvl1pPr marL="0" indent="0" algn="ctr">
              <a:buFont typeface="Arial" panose="020B0604020202020204" pitchFamily="34" charset="0"/>
              <a:buNone/>
              <a:tabLst/>
              <a:defRPr sz="3000"/>
            </a:lvl1pPr>
            <a:lvl2pPr marL="0" indent="0" algn="ctr">
              <a:buNone/>
              <a:tabLst/>
              <a:defRPr cap="all" baseline="0"/>
            </a:lvl2pPr>
            <a:lvl3pPr marL="0" indent="0" algn="ctr">
              <a:buNone/>
              <a:tabLst/>
              <a:defRPr cap="all" baseline="0"/>
            </a:lvl3pPr>
            <a:lvl4pPr marL="0" indent="0" algn="ctr">
              <a:buNone/>
              <a:tabLst/>
              <a:defRPr cap="all" baseline="0"/>
            </a:lvl4pPr>
            <a:lvl5pPr marL="0" indent="0" algn="ctr">
              <a:buNone/>
              <a:tabLst/>
              <a:defRPr cap="all" baseline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6736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Quote 9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882EDB-8426-7A85-9AAA-2AC2BE3C7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5E87B-6099-6961-1DF4-588355F12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3EFABE-1A5D-15CA-4743-667988B55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B1FE10D-D1A0-1ECE-8C37-D1F528D48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944563"/>
            <a:ext cx="11522075" cy="5545137"/>
          </a:xfrm>
          <a:solidFill>
            <a:schemeClr val="bg1">
              <a:alpha val="80000"/>
            </a:schemeClr>
          </a:solidFill>
        </p:spPr>
        <p:txBody>
          <a:bodyPr lIns="2015999" rIns="2015999" anchor="ctr" anchorCtr="0"/>
          <a:lstStyle>
            <a:lvl1pPr marL="0" indent="0" algn="ctr">
              <a:buFont typeface="Arial" panose="020B0604020202020204" pitchFamily="34" charset="0"/>
              <a:buNone/>
              <a:tabLst/>
              <a:defRPr sz="3000"/>
            </a:lvl1pPr>
            <a:lvl2pPr marL="0" indent="0" algn="ctr">
              <a:buNone/>
              <a:tabLst/>
              <a:defRPr cap="all" baseline="0"/>
            </a:lvl2pPr>
            <a:lvl3pPr marL="0" indent="0" algn="ctr">
              <a:buNone/>
              <a:tabLst/>
              <a:defRPr cap="all" baseline="0"/>
            </a:lvl3pPr>
            <a:lvl4pPr marL="0" indent="0" algn="ctr">
              <a:buNone/>
              <a:tabLst/>
              <a:defRPr cap="all" baseline="0"/>
            </a:lvl4pPr>
            <a:lvl5pPr marL="0" indent="0" algn="ctr">
              <a:buNone/>
              <a:tabLst/>
              <a:defRPr cap="all" baseline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22825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Quote 10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882EDB-8426-7A85-9AAA-2AC2BE3C7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5E87B-6099-6961-1DF4-588355F12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3EFABE-1A5D-15CA-4743-667988B55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0F4F1D93-BDCC-56E1-DA2F-1F33ED2021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944563"/>
            <a:ext cx="11522075" cy="5545137"/>
          </a:xfrm>
          <a:solidFill>
            <a:schemeClr val="bg1">
              <a:alpha val="80000"/>
            </a:schemeClr>
          </a:solidFill>
        </p:spPr>
        <p:txBody>
          <a:bodyPr lIns="2015999" rIns="2015999" anchor="ctr" anchorCtr="0"/>
          <a:lstStyle>
            <a:lvl1pPr marL="0" indent="0" algn="ctr">
              <a:buFont typeface="Arial" panose="020B0604020202020204" pitchFamily="34" charset="0"/>
              <a:buNone/>
              <a:tabLst/>
              <a:defRPr sz="3000"/>
            </a:lvl1pPr>
            <a:lvl2pPr marL="0" indent="0" algn="ctr">
              <a:buNone/>
              <a:tabLst/>
              <a:defRPr cap="all" baseline="0"/>
            </a:lvl2pPr>
            <a:lvl3pPr marL="0" indent="0" algn="ctr">
              <a:buNone/>
              <a:tabLst/>
              <a:defRPr cap="all" baseline="0"/>
            </a:lvl3pPr>
            <a:lvl4pPr marL="0" indent="0" algn="ctr">
              <a:buNone/>
              <a:tabLst/>
              <a:defRPr cap="all" baseline="0"/>
            </a:lvl4pPr>
            <a:lvl5pPr marL="0" indent="0" algn="ctr">
              <a:buNone/>
              <a:tabLst/>
              <a:defRPr cap="all" baseline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0438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Quote 1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882EDB-8426-7A85-9AAA-2AC2BE3C7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5E87B-6099-6961-1DF4-588355F12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3EFABE-1A5D-15CA-4743-667988B55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658E4BC8-97B6-5C53-8254-084EC94BDD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944563"/>
            <a:ext cx="11522075" cy="5545137"/>
          </a:xfrm>
          <a:solidFill>
            <a:schemeClr val="bg1">
              <a:alpha val="80000"/>
            </a:schemeClr>
          </a:solidFill>
        </p:spPr>
        <p:txBody>
          <a:bodyPr lIns="2015999" rIns="2015999" anchor="ctr" anchorCtr="0"/>
          <a:lstStyle>
            <a:lvl1pPr marL="0" indent="0" algn="ctr">
              <a:buFont typeface="Arial" panose="020B0604020202020204" pitchFamily="34" charset="0"/>
              <a:buNone/>
              <a:tabLst/>
              <a:defRPr sz="3000"/>
            </a:lvl1pPr>
            <a:lvl2pPr marL="0" indent="0" algn="ctr">
              <a:buNone/>
              <a:tabLst/>
              <a:defRPr cap="all" baseline="0"/>
            </a:lvl2pPr>
            <a:lvl3pPr marL="0" indent="0" algn="ctr">
              <a:buNone/>
              <a:tabLst/>
              <a:defRPr cap="all" baseline="0"/>
            </a:lvl3pPr>
            <a:lvl4pPr marL="0" indent="0" algn="ctr">
              <a:buNone/>
              <a:tabLst/>
              <a:defRPr cap="all" baseline="0"/>
            </a:lvl4pPr>
            <a:lvl5pPr marL="0" indent="0" algn="ctr">
              <a:buNone/>
              <a:tabLst/>
              <a:defRPr cap="all" baseline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606569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Quote 1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882EDB-8426-7A85-9AAA-2AC2BE3C7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5E87B-6099-6961-1DF4-588355F12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3EFABE-1A5D-15CA-4743-667988B55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E1A0089-E1E3-25AF-4FF9-1243F31306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944563"/>
            <a:ext cx="11522075" cy="5545137"/>
          </a:xfrm>
          <a:solidFill>
            <a:schemeClr val="bg1">
              <a:alpha val="80000"/>
            </a:schemeClr>
          </a:solidFill>
        </p:spPr>
        <p:txBody>
          <a:bodyPr lIns="2015999" rIns="2015999" anchor="ctr" anchorCtr="0"/>
          <a:lstStyle>
            <a:lvl1pPr marL="0" indent="0" algn="ctr">
              <a:buFont typeface="Arial" panose="020B0604020202020204" pitchFamily="34" charset="0"/>
              <a:buNone/>
              <a:tabLst/>
              <a:defRPr sz="3000"/>
            </a:lvl1pPr>
            <a:lvl2pPr marL="0" indent="0" algn="ctr">
              <a:buNone/>
              <a:tabLst/>
              <a:defRPr cap="all" baseline="0"/>
            </a:lvl2pPr>
            <a:lvl3pPr marL="0" indent="0" algn="ctr">
              <a:buNone/>
              <a:tabLst/>
              <a:defRPr cap="all" baseline="0"/>
            </a:lvl3pPr>
            <a:lvl4pPr marL="0" indent="0" algn="ctr">
              <a:buNone/>
              <a:tabLst/>
              <a:defRPr cap="all" baseline="0"/>
            </a:lvl4pPr>
            <a:lvl5pPr marL="0" indent="0" algn="ctr">
              <a:buNone/>
              <a:tabLst/>
              <a:defRPr cap="all" baseline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53664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7C53CA-4651-1803-F4E7-4765FDAB93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32D64E-A574-FC67-35B7-E9E840239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5409BD-0731-E266-CB83-C9D58A2F4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8F0838-083A-7FC2-32B7-2C3E6C2DBB98}"/>
              </a:ext>
            </a:extLst>
          </p:cNvPr>
          <p:cNvSpPr/>
          <p:nvPr/>
        </p:nvSpPr>
        <p:spPr>
          <a:xfrm>
            <a:off x="334964" y="944563"/>
            <a:ext cx="11522075" cy="5545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020BED9-5C8B-270D-8FC3-1CEA116A72E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1117601"/>
            <a:ext cx="11160125" cy="51911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4013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B1B846-985B-F3CC-110D-2B14894030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3D535-2C78-5747-B830-A69B67CA6FF0}" type="datetime1">
              <a:rPr lang="en-GB" smtClean="0"/>
              <a:t>04/0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742BFC-4320-72AD-7280-BC2982781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eader footer: presentation/project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DD9286-EB85-9817-A4DF-A2707D1F2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A8E597-B241-1B4A-8264-B9C6F7CE042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A9A1756-4DC3-315B-58D8-DDBE6992159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34964" y="944563"/>
            <a:ext cx="11522075" cy="554513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14713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481212-81B0-CF7A-896B-35C7A86D1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0963" y="2920346"/>
            <a:ext cx="9837738" cy="688157"/>
          </a:xfrm>
        </p:spPr>
        <p:txBody>
          <a:bodyPr>
            <a:noAutofit/>
          </a:bodyPr>
          <a:lstStyle>
            <a:lvl1pPr>
              <a:defRPr sz="4400" b="0" i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add thank you</a:t>
            </a:r>
            <a:endParaRPr lang="en-US"/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24C78D9A-1A16-D386-BEDC-E9FF5E7058F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317500"/>
            <a:ext cx="1656000" cy="1656000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28A1C07F-88C6-EAC7-5139-D4DEA106E3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79613" y="36845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800" b="0" i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9354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53228B-7441-4DA6-2C4E-61D027B4A0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D58062-643E-DA40-2749-117D87F530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A0592B-E78B-3DBA-F0C1-A6493862D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DD16D1-1ECB-9209-5D39-BDD3A731E1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6110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CAF7478-0124-248B-1552-454ED1155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5DBE75-FFF2-21F5-8AEF-845D45D64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10E745-1FD0-B6AD-2866-948E0E19F8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6990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6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C9592-57EE-57CE-F7EA-053D252BD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79" y="2489250"/>
            <a:ext cx="7563434" cy="1347459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defRPr sz="4400" b="0" i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8199CE2A-F2CD-21B4-0F02-9F12585F9A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E26D4B-C20E-4333-4C1F-5CA3F09827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3113" y="38369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400" b="0" i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343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e Marcado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exto do Título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o do Título</a:t>
            </a:r>
          </a:p>
        </p:txBody>
      </p:sp>
      <p:sp>
        <p:nvSpPr>
          <p:cNvPr id="93" name="Nível de Corpo Um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defRPr sz="2400"/>
            </a:lvl1pPr>
            <a:lvl2pPr marL="685736" indent="-228578">
              <a:defRPr sz="2400"/>
            </a:lvl2pPr>
            <a:lvl3pPr marL="1142894" indent="-228578">
              <a:defRPr sz="2400"/>
            </a:lvl3pPr>
            <a:lvl4pPr marL="1600052" indent="-228578">
              <a:defRPr sz="2400"/>
            </a:lvl4pPr>
            <a:lvl5pPr marL="2057210" indent="-228578">
              <a:defRPr sz="2400"/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94" name="Número do Slid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678154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7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C9592-57EE-57CE-F7EA-053D252BD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79" y="2489250"/>
            <a:ext cx="7563434" cy="1347459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defRPr sz="4400" b="0" i="0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8199CE2A-F2CD-21B4-0F02-9F12585F9A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E26D4B-C20E-4333-4C1F-5CA3F09827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3113" y="38369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400" b="0" i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67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8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C9592-57EE-57CE-F7EA-053D252BD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79" y="2489250"/>
            <a:ext cx="7563434" cy="1347459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defRPr sz="4400" b="0" i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8199CE2A-F2CD-21B4-0F02-9F12585F9A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E26D4B-C20E-4333-4C1F-5CA3F09827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3113" y="38369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400" b="0" i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97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9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C9592-57EE-57CE-F7EA-053D252BD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42479" y="2489250"/>
            <a:ext cx="7563434" cy="1347459"/>
          </a:xfrm>
        </p:spPr>
        <p:txBody>
          <a:bodyPr bIns="0" anchor="b" anchorCtr="0">
            <a:noAutofit/>
          </a:bodyPr>
          <a:lstStyle>
            <a:lvl1pPr algn="l">
              <a:lnSpc>
                <a:spcPct val="90000"/>
              </a:lnSpc>
              <a:defRPr sz="4400" b="0" i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8199CE2A-F2CD-21B4-0F02-9F12585F9A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44" y="472174"/>
            <a:ext cx="1656000" cy="1656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E26D4B-C20E-4333-4C1F-5CA3F09827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3113" y="3836988"/>
            <a:ext cx="7562850" cy="1838325"/>
          </a:xfrm>
        </p:spPr>
        <p:txBody>
          <a:bodyPr t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400" b="0" i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4pPr>
            <a:lvl5pPr marL="0" indent="0">
              <a:lnSpc>
                <a:spcPct val="90000"/>
              </a:lnSpc>
              <a:spcAft>
                <a:spcPts val="0"/>
              </a:spcAft>
              <a:buNone/>
              <a:defRPr sz="1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617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E001169-9CDE-BF68-DA36-DFC8A0C81C36}"/>
              </a:ext>
            </a:extLst>
          </p:cNvPr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1299114104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3" imgW="395" imgH="396" progId="TCLayout.ActiveDocument.1">
                  <p:embed/>
                </p:oleObj>
              </mc:Choice>
              <mc:Fallback>
                <p:oleObj name="think-cell Slide" r:id="rId63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E001169-9CDE-BF68-DA36-DFC8A0C81C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572A32-341C-3CF8-08F7-6BE16722B3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1" y="1332000"/>
            <a:ext cx="11244063" cy="6881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GB"/>
              <a:t>Click to edit tit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6CE129-4631-E99F-4631-7879240A5B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1" y="2021345"/>
            <a:ext cx="11244063" cy="42873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C6860D-5E7D-220D-598C-9F6045241E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13838" y="6573692"/>
            <a:ext cx="2743200" cy="28430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 b="0" i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fld id="{18F72C3C-51C5-4C59-BA39-4E10EE64B65A}" type="datetimeFigureOut">
              <a:rPr lang="en-US" smtClean="0"/>
              <a:t>2/4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1897AA-1F14-E3E1-2834-06C8F611C6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56322" y="284307"/>
            <a:ext cx="9000716" cy="365125"/>
          </a:xfrm>
          <a:prstGeom prst="rect">
            <a:avLst/>
          </a:prstGeom>
        </p:spPr>
        <p:txBody>
          <a:bodyPr vert="horz" lIns="91440" tIns="45720" rIns="0" bIns="45720" rtlCol="0" anchor="ctr">
            <a:noAutofit/>
          </a:bodyPr>
          <a:lstStyle>
            <a:lvl1pPr algn="r">
              <a:defRPr sz="2000" b="0" i="0" cap="all" spc="200" baseline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F1970D-4993-6DD8-8CB9-BB514D3E50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627" y="6573694"/>
            <a:ext cx="1371601" cy="2843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fld id="{EAC4D42E-4C62-4969-AD5D-B9C97D6041F3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57CFB40A-F4FA-64C7-D8B3-C3FDA001E3FB}"/>
              </a:ext>
            </a:extLst>
          </p:cNvPr>
          <p:cNvPicPr>
            <a:picLocks noChangeAspect="1"/>
          </p:cNvPicPr>
          <p:nvPr/>
        </p:nvPicPr>
        <p:blipFill>
          <a:blip r:embed="rId6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1" y="211054"/>
            <a:ext cx="540000" cy="540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2E31C6F-6072-8769-68EE-2BD5F6D5B7B6}"/>
              </a:ext>
            </a:extLst>
          </p:cNvPr>
          <p:cNvCxnSpPr/>
          <p:nvPr/>
        </p:nvCxnSpPr>
        <p:spPr>
          <a:xfrm>
            <a:off x="1018096" y="751054"/>
            <a:ext cx="10838943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8861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</p:sldLayoutIdLst>
  <p:txStyles>
    <p:titleStyle>
      <a:lvl1pPr algn="l" defTabSz="914358" rtl="0" eaLnBrk="1" latinLnBrk="0" hangingPunct="1">
        <a:lnSpc>
          <a:spcPct val="100000"/>
        </a:lnSpc>
        <a:spcBef>
          <a:spcPct val="0"/>
        </a:spcBef>
        <a:buNone/>
        <a:defRPr sz="1800" b="0" i="0" kern="1200" cap="all" baseline="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1pPr>
    </p:titleStyle>
    <p:bodyStyle>
      <a:lvl1pPr marL="0" indent="0" algn="l" defTabSz="914358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tabLst/>
        <a:defRPr sz="16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1pPr>
      <a:lvl2pPr marL="269987" indent="-269987" algn="l" defTabSz="914358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2pPr>
      <a:lvl3pPr marL="539975" indent="-269987" algn="l" defTabSz="914358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3pPr>
      <a:lvl4pPr marL="539975" indent="-269987" algn="l" defTabSz="914358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4pPr>
      <a:lvl5pPr marL="539975" indent="-269987" algn="l" defTabSz="914358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5pPr>
      <a:lvl6pPr marL="2514483" indent="-228589" algn="l" defTabSz="9143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62" indent="-228589" algn="l" defTabSz="9143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41" indent="-228589" algn="l" defTabSz="9143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20" indent="-228589" algn="l" defTabSz="9143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9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8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6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5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4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73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52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30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4088">
          <p15:clr>
            <a:srgbClr val="F26B43"/>
          </p15:clr>
        </p15:guide>
        <p15:guide id="6" orient="horz" pos="232">
          <p15:clr>
            <a:srgbClr val="F26B43"/>
          </p15:clr>
        </p15:guide>
        <p15:guide id="7" orient="horz" pos="595">
          <p15:clr>
            <a:srgbClr val="F26B43"/>
          </p15:clr>
        </p15:guide>
        <p15:guide id="8" pos="325">
          <p15:clr>
            <a:srgbClr val="F26B43"/>
          </p15:clr>
        </p15:guide>
        <p15:guide id="9" pos="7355">
          <p15:clr>
            <a:srgbClr val="F26B43"/>
          </p15:clr>
        </p15:guide>
        <p15:guide id="11" orient="horz" pos="3974">
          <p15:clr>
            <a:srgbClr val="F26B43"/>
          </p15:clr>
        </p15:guide>
        <p15:guide id="12" orient="horz" pos="7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A6B4A8-E59A-E463-14CF-FD3FCE3B90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598" y="2873950"/>
            <a:ext cx="7562850" cy="1838325"/>
          </a:xfrm>
        </p:spPr>
        <p:txBody>
          <a:bodyPr/>
          <a:lstStyle/>
          <a:p>
            <a:r>
              <a:rPr lang="tr-TR" sz="3600" dirty="0"/>
              <a:t>KAMPANYA GÖRSEL KULLANIMI</a:t>
            </a:r>
          </a:p>
          <a:p>
            <a:r>
              <a:rPr lang="tr-TR" sz="3600" dirty="0"/>
              <a:t> BİLGİLENDİRME SUNUMU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9199249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D9402D-299D-9FD5-E27E-918D971CE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482" y="164680"/>
            <a:ext cx="11244063" cy="688157"/>
          </a:xfrm>
        </p:spPr>
        <p:txBody>
          <a:bodyPr/>
          <a:lstStyle/>
          <a:p>
            <a:r>
              <a:rPr lang="tr-TR" dirty="0"/>
              <a:t>KAMPANYA GÖRSEL BOYUTLARI 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85E65A-721A-638A-DD96-9CB14DF551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1" y="1285309"/>
            <a:ext cx="11244063" cy="4287381"/>
          </a:xfrm>
        </p:spPr>
        <p:txBody>
          <a:bodyPr/>
          <a:lstStyle/>
          <a:p>
            <a:r>
              <a:rPr lang="tr-TR" dirty="0"/>
              <a:t>Şubat ayı itibariyle, kampanya görünürlüğünü artırmak için dayanıklı malzemelerle birlikte yeni bir görsel kullanım planına geçiş yapıyoruz. </a:t>
            </a:r>
          </a:p>
          <a:p>
            <a:r>
              <a:rPr lang="tr-TR" dirty="0"/>
              <a:t>Bu plana göre Mağaza ve Kiosklar için aşağıdaki görsel boyutlarında ilgili adetlerde gönderim yapılacaktır.</a:t>
            </a:r>
          </a:p>
          <a:p>
            <a:endParaRPr lang="tr-TR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135EFC1-8BA0-9A7F-13A4-221A8EBE3A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5683602"/>
              </p:ext>
            </p:extLst>
          </p:nvPr>
        </p:nvGraphicFramePr>
        <p:xfrm>
          <a:off x="432001" y="3429000"/>
          <a:ext cx="4089721" cy="2262800"/>
        </p:xfrm>
        <a:graphic>
          <a:graphicData uri="http://schemas.openxmlformats.org/drawingml/2006/table">
            <a:tbl>
              <a:tblPr/>
              <a:tblGrid>
                <a:gridCol w="2705263">
                  <a:extLst>
                    <a:ext uri="{9D8B030D-6E8A-4147-A177-3AD203B41FA5}">
                      <a16:colId xmlns:a16="http://schemas.microsoft.com/office/drawing/2014/main" val="2989988370"/>
                    </a:ext>
                  </a:extLst>
                </a:gridCol>
                <a:gridCol w="1384458">
                  <a:extLst>
                    <a:ext uri="{9D8B030D-6E8A-4147-A177-3AD203B41FA5}">
                      <a16:colId xmlns:a16="http://schemas.microsoft.com/office/drawing/2014/main" val="2833244423"/>
                    </a:ext>
                  </a:extLst>
                </a:gridCol>
              </a:tblGrid>
              <a:tr h="90515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ğaz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C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1185332"/>
                  </a:ext>
                </a:extLst>
              </a:tr>
              <a:tr h="1923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Görsel tip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E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Adet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E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528529"/>
                  </a:ext>
                </a:extLst>
              </a:tr>
              <a:tr h="5694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A5- Poster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                    3   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1121691"/>
                  </a:ext>
                </a:extLst>
              </a:tr>
              <a:tr h="13577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Wobbler (13cm)-Asetat Baskı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                    5   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7759986"/>
                  </a:ext>
                </a:extLst>
              </a:tr>
              <a:tr h="5694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50x70 3mm forex 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                    1   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34897"/>
                  </a:ext>
                </a:extLst>
              </a:tr>
              <a:tr h="2866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70x100-3mm forex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Talep eden mağaza başına 1 adet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506101"/>
                  </a:ext>
                </a:extLst>
              </a:tr>
              <a:tr h="1923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Wobbler(29cm)</a:t>
                      </a:r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Dönkar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(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aseta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)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                    4   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3654561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E87FD76-A35B-3907-09A9-8D5B2A0584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3402106"/>
              </p:ext>
            </p:extLst>
          </p:nvPr>
        </p:nvGraphicFramePr>
        <p:xfrm>
          <a:off x="5232214" y="3475129"/>
          <a:ext cx="4651089" cy="2097561"/>
        </p:xfrm>
        <a:graphic>
          <a:graphicData uri="http://schemas.openxmlformats.org/drawingml/2006/table">
            <a:tbl>
              <a:tblPr/>
              <a:tblGrid>
                <a:gridCol w="3848023">
                  <a:extLst>
                    <a:ext uri="{9D8B030D-6E8A-4147-A177-3AD203B41FA5}">
                      <a16:colId xmlns:a16="http://schemas.microsoft.com/office/drawing/2014/main" val="3208933255"/>
                    </a:ext>
                  </a:extLst>
                </a:gridCol>
                <a:gridCol w="803066">
                  <a:extLst>
                    <a:ext uri="{9D8B030D-6E8A-4147-A177-3AD203B41FA5}">
                      <a16:colId xmlns:a16="http://schemas.microsoft.com/office/drawing/2014/main" val="655795686"/>
                    </a:ext>
                  </a:extLst>
                </a:gridCol>
              </a:tblGrid>
              <a:tr h="220763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iosk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C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8980092"/>
                  </a:ext>
                </a:extLst>
              </a:tr>
              <a:tr h="2399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Görsel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tip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E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Adet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E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506008"/>
                  </a:ext>
                </a:extLst>
              </a:tr>
              <a:tr h="69843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Wobbler(48cm)-Dev Wobbler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       2   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3532886"/>
                  </a:ext>
                </a:extLst>
              </a:tr>
              <a:tr h="2399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Kiosk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Alınlık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Görselleri-35.8x26.9-Poster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       4   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140758"/>
                  </a:ext>
                </a:extLst>
              </a:tr>
              <a:tr h="69843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Wobbler (13cm)-Asetat Baskı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       5   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37715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899980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DE93DE-7FCF-9D85-BF02-9709A1272D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tr-TR" dirty="0"/>
              <a:t>Uygulanan kampanyaların görsellerinin mağaza içerisinde sergilenmesi yasal zorunluluklar kapsamında kritik önem taşımaktadır.Bu nedenle kampanya planına uygun olarak kampanya görsellerinin gönderimi her ay yapılmaktaydı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r-TR" dirty="0"/>
              <a:t>Şubat öncesi kampanya görsellerinde, tüm boyutlarda Kampanya Koşulları alanı yer almaktaydı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r-TR" dirty="0"/>
              <a:t>Yeni yapıda ise, daha dayanıklı malzemeler kullanarak kampanya görsellerini ilgili ayın planına paralel olarak yeniden kullanılabilmesini amaçlıyoruz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r-TR" u="sng" dirty="0"/>
              <a:t>Bu kapsamda, mağaza içerisinde sergilenen görsellerde en az 1 adet görsel tipinde kampanya koşulları bilgisinin yer alması gerekmektedir.</a:t>
            </a:r>
          </a:p>
          <a:p>
            <a:endParaRPr lang="tr-TR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C6E48E9-EA66-D063-3A93-10A2556F8BDC}"/>
              </a:ext>
            </a:extLst>
          </p:cNvPr>
          <p:cNvSpPr txBox="1">
            <a:spLocks/>
          </p:cNvSpPr>
          <p:nvPr/>
        </p:nvSpPr>
        <p:spPr>
          <a:xfrm>
            <a:off x="1093482" y="164680"/>
            <a:ext cx="11244063" cy="6881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358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0" i="0" kern="1200" cap="all" baseline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tr-TR" dirty="0"/>
              <a:t>KAMPANYA GÖRSEL KULLANIMLA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7430025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E07159-90E4-4494-7F22-F6DB17AF3F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968" y="1136128"/>
            <a:ext cx="11244063" cy="4287381"/>
          </a:xfrm>
        </p:spPr>
        <p:txBody>
          <a:bodyPr/>
          <a:lstStyle/>
          <a:p>
            <a:r>
              <a:rPr lang="tr-TR" dirty="0"/>
              <a:t>Bu nedenle aşağıda «kuralsız» olarak belirtilen görsel tiplerinin atılmaması, sonraki kampanyalarda ihtiyaç duyulması halinde YENİDEN KULLANILMASINI VE SAKLANMASINI RİCA EDİYORUZ. </a:t>
            </a:r>
          </a:p>
          <a:p>
            <a:r>
              <a:rPr lang="tr-TR" dirty="0"/>
              <a:t>Kurallı olarak belirtilen görseller ise, kampanya planına uygun olarak HER AY gönderilmeye devam edilecektir. Ancak kuralsız görsellerin gönderimi 1 kez yapılacaktır.</a:t>
            </a:r>
          </a:p>
          <a:p>
            <a:endParaRPr lang="tr-TR" dirty="0"/>
          </a:p>
          <a:p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C97235B-75BD-B2DF-3B80-3BB7EC2A45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8128426"/>
              </p:ext>
            </p:extLst>
          </p:nvPr>
        </p:nvGraphicFramePr>
        <p:xfrm>
          <a:off x="706014" y="3665048"/>
          <a:ext cx="3982717" cy="1887389"/>
        </p:xfrm>
        <a:graphic>
          <a:graphicData uri="http://schemas.openxmlformats.org/drawingml/2006/table">
            <a:tbl>
              <a:tblPr/>
              <a:tblGrid>
                <a:gridCol w="2634482">
                  <a:extLst>
                    <a:ext uri="{9D8B030D-6E8A-4147-A177-3AD203B41FA5}">
                      <a16:colId xmlns:a16="http://schemas.microsoft.com/office/drawing/2014/main" val="2706344669"/>
                    </a:ext>
                  </a:extLst>
                </a:gridCol>
                <a:gridCol w="1348235">
                  <a:extLst>
                    <a:ext uri="{9D8B030D-6E8A-4147-A177-3AD203B41FA5}">
                      <a16:colId xmlns:a16="http://schemas.microsoft.com/office/drawing/2014/main" val="327713774"/>
                    </a:ext>
                  </a:extLst>
                </a:gridCol>
              </a:tblGrid>
              <a:tr h="129135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ğaz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C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7941316"/>
                  </a:ext>
                </a:extLst>
              </a:tr>
              <a:tr h="4089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Görsel tip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E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Kurallı/Kuralsız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E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4771414"/>
                  </a:ext>
                </a:extLst>
              </a:tr>
              <a:tr h="27441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A5- Poster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Kurallı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3006765"/>
                  </a:ext>
                </a:extLst>
              </a:tr>
              <a:tr h="337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Wobbler (13cm)-Asetat Baskı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Kuralsız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0592"/>
                  </a:ext>
                </a:extLst>
              </a:tr>
              <a:tr h="27441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50x70 3mm forex 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Kuralsız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7573821"/>
                  </a:ext>
                </a:extLst>
              </a:tr>
              <a:tr h="1398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70x100-3mm forex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Kuralsız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7470766"/>
                  </a:ext>
                </a:extLst>
              </a:tr>
              <a:tr h="27441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Wobbler(29cm)</a:t>
                      </a:r>
                      <a:b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</a:b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Dönkart (asetat)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Kuralsız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3433407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3F36F7C-A327-7524-61BA-530B01FA50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159350"/>
              </p:ext>
            </p:extLst>
          </p:nvPr>
        </p:nvGraphicFramePr>
        <p:xfrm>
          <a:off x="5883967" y="3742079"/>
          <a:ext cx="3530600" cy="1813560"/>
        </p:xfrm>
        <a:graphic>
          <a:graphicData uri="http://schemas.openxmlformats.org/drawingml/2006/table">
            <a:tbl>
              <a:tblPr/>
              <a:tblGrid>
                <a:gridCol w="2921000">
                  <a:extLst>
                    <a:ext uri="{9D8B030D-6E8A-4147-A177-3AD203B41FA5}">
                      <a16:colId xmlns:a16="http://schemas.microsoft.com/office/drawing/2014/main" val="3804759056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542352226"/>
                    </a:ext>
                  </a:extLst>
                </a:gridCol>
              </a:tblGrid>
              <a:tr h="18288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Kiosk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C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8261986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Görsel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tip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E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Kurallı/Kuralsız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E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1642293"/>
                  </a:ext>
                </a:extLst>
              </a:tr>
              <a:tr h="3886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Wobbler(48cm)-Dev Wobbler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Kuralsız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43345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Kiosk Alınlık Görselleri-35.8x26.9-Poster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Kurallı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5234982"/>
                  </a:ext>
                </a:extLst>
              </a:tr>
              <a:tr h="3886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Wobbler (13cm)-Asetat Baskı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Kuralsız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21957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6950162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7C3280-A16E-C080-3CC4-5E392291C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SAKLANACAK GÖRSEL BOYUTLARI</a:t>
            </a: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DA8652A-92E0-5F91-2657-4B01C2FC99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5004910"/>
              </p:ext>
            </p:extLst>
          </p:nvPr>
        </p:nvGraphicFramePr>
        <p:xfrm>
          <a:off x="432001" y="2020157"/>
          <a:ext cx="3982717" cy="1612978"/>
        </p:xfrm>
        <a:graphic>
          <a:graphicData uri="http://schemas.openxmlformats.org/drawingml/2006/table">
            <a:tbl>
              <a:tblPr/>
              <a:tblGrid>
                <a:gridCol w="2634482">
                  <a:extLst>
                    <a:ext uri="{9D8B030D-6E8A-4147-A177-3AD203B41FA5}">
                      <a16:colId xmlns:a16="http://schemas.microsoft.com/office/drawing/2014/main" val="2706344669"/>
                    </a:ext>
                  </a:extLst>
                </a:gridCol>
                <a:gridCol w="1348235">
                  <a:extLst>
                    <a:ext uri="{9D8B030D-6E8A-4147-A177-3AD203B41FA5}">
                      <a16:colId xmlns:a16="http://schemas.microsoft.com/office/drawing/2014/main" val="327713774"/>
                    </a:ext>
                  </a:extLst>
                </a:gridCol>
              </a:tblGrid>
              <a:tr h="129135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ağaz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C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7941316"/>
                  </a:ext>
                </a:extLst>
              </a:tr>
              <a:tr h="4089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Görsel tip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E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Kurallı/Kuralsız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E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4771414"/>
                  </a:ext>
                </a:extLst>
              </a:tr>
              <a:tr h="337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Wobbler (13cm)-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Aseta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Baskı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Kuralsız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60592"/>
                  </a:ext>
                </a:extLst>
              </a:tr>
              <a:tr h="27441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50x70 3mm forex 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Kuralsız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7573821"/>
                  </a:ext>
                </a:extLst>
              </a:tr>
              <a:tr h="13989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70x100-3mm forex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Kuralsız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7470766"/>
                  </a:ext>
                </a:extLst>
              </a:tr>
              <a:tr h="27441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Wobbler(29cm)</a:t>
                      </a:r>
                      <a:b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</a:b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Dönkart (asetat)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Kuralsız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3433407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C174E27-E11D-A348-A390-94BEE24856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8731822"/>
              </p:ext>
            </p:extLst>
          </p:nvPr>
        </p:nvGraphicFramePr>
        <p:xfrm>
          <a:off x="548758" y="3987911"/>
          <a:ext cx="3530600" cy="1242060"/>
        </p:xfrm>
        <a:graphic>
          <a:graphicData uri="http://schemas.openxmlformats.org/drawingml/2006/table">
            <a:tbl>
              <a:tblPr/>
              <a:tblGrid>
                <a:gridCol w="2921000">
                  <a:extLst>
                    <a:ext uri="{9D8B030D-6E8A-4147-A177-3AD203B41FA5}">
                      <a16:colId xmlns:a16="http://schemas.microsoft.com/office/drawing/2014/main" val="1150334489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934192589"/>
                    </a:ext>
                  </a:extLst>
                </a:gridCol>
              </a:tblGrid>
              <a:tr h="5791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Görsel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tip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E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Kurallı/Kuralsız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9E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557440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Kiosk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Alınlık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Görselleri-35.8x26.9-Poster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Kurallı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0771553"/>
                  </a:ext>
                </a:extLst>
              </a:tr>
              <a:tr h="3886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Wobbler (13cm)-Asetat Baskı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Kuralsız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Lato" panose="020F0502020204030203" pitchFamily="34" charset="0"/>
                        </a:rPr>
                        <a:t>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9087314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A6A8BDD1-8756-7023-7101-EDADC89B4140}"/>
              </a:ext>
            </a:extLst>
          </p:cNvPr>
          <p:cNvSpPr txBox="1"/>
          <p:nvPr/>
        </p:nvSpPr>
        <p:spPr>
          <a:xfrm>
            <a:off x="5550195" y="1676078"/>
            <a:ext cx="388088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tr-TR" sz="1600" b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OT: </a:t>
            </a:r>
            <a:r>
              <a:rPr lang="tr-TR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50X70 görseller iki köşesinden delinmiş olarak gönderilecektir. Paket içerisinden çıkan vantuzlarla birlikte cama yapıştırabilirsiniz.</a:t>
            </a:r>
            <a:endParaRPr lang="en-US" sz="16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6689729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Avon 2023">
  <a:themeElements>
    <a:clrScheme name="Avon">
      <a:dk1>
        <a:srgbClr val="000000"/>
      </a:dk1>
      <a:lt1>
        <a:srgbClr val="FFFFFF"/>
      </a:lt1>
      <a:dk2>
        <a:srgbClr val="FFF4F7"/>
      </a:dk2>
      <a:lt2>
        <a:srgbClr val="E5004B"/>
      </a:lt2>
      <a:accent1>
        <a:srgbClr val="E5004B"/>
      </a:accent1>
      <a:accent2>
        <a:srgbClr val="F66F7C"/>
      </a:accent2>
      <a:accent3>
        <a:srgbClr val="FFAEB1"/>
      </a:accent3>
      <a:accent4>
        <a:srgbClr val="0060AC"/>
      </a:accent4>
      <a:accent5>
        <a:srgbClr val="3096E2"/>
      </a:accent5>
      <a:accent6>
        <a:srgbClr val="97BCDF"/>
      </a:accent6>
      <a:hlink>
        <a:srgbClr val="E5004B"/>
      </a:hlink>
      <a:folHlink>
        <a:srgbClr val="F66F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b="0" i="0" dirty="0" smtClean="0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sz="1600" dirty="0" smtClean="0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1f5b1fa-48c5-425c-9cce-0fd8cff59992">
      <Terms xmlns="http://schemas.microsoft.com/office/infopath/2007/PartnerControls"/>
    </lcf76f155ced4ddcb4097134ff3c332f>
    <TaxCatchAll xmlns="7d4c4f1d-db62-4f75-ac1f-3ed88d75e08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0DB0B3194E4D4D9B5ADBB896608883" ma:contentTypeVersion="12" ma:contentTypeDescription="Create a new document." ma:contentTypeScope="" ma:versionID="86135054d6f640308aaaf0f77e5a2ebd">
  <xsd:schema xmlns:xsd="http://www.w3.org/2001/XMLSchema" xmlns:xs="http://www.w3.org/2001/XMLSchema" xmlns:p="http://schemas.microsoft.com/office/2006/metadata/properties" xmlns:ns2="21f5b1fa-48c5-425c-9cce-0fd8cff59992" xmlns:ns3="7d4c4f1d-db62-4f75-ac1f-3ed88d75e087" targetNamespace="http://schemas.microsoft.com/office/2006/metadata/properties" ma:root="true" ma:fieldsID="c247422f15ae23db5de5b94c586567b3" ns2:_="" ns3:_="">
    <xsd:import namespace="21f5b1fa-48c5-425c-9cce-0fd8cff59992"/>
    <xsd:import namespace="7d4c4f1d-db62-4f75-ac1f-3ed88d75e0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f5b1fa-48c5-425c-9cce-0fd8cff599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31bd0a23-2c95-4283-b013-821e6f2a887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4c4f1d-db62-4f75-ac1f-3ed88d75e087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06061310-504f-4b2c-a43b-5b4ca6653b30}" ma:internalName="TaxCatchAll" ma:showField="CatchAllData" ma:web="7d4c4f1d-db62-4f75-ac1f-3ed88d75e08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8446A0-7A39-4A9E-A065-21FD858C4EF4}">
  <ds:schemaRefs>
    <ds:schemaRef ds:uri="21f5b1fa-48c5-425c-9cce-0fd8cff59992"/>
    <ds:schemaRef ds:uri="7d4c4f1d-db62-4f75-ac1f-3ed88d75e08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E3D4822-2C4B-4B90-9CEB-788ACCC7A2DD}">
  <ds:schemaRefs>
    <ds:schemaRef ds:uri="21f5b1fa-48c5-425c-9cce-0fd8cff59992"/>
    <ds:schemaRef ds:uri="7d4c4f1d-db62-4f75-ac1f-3ed88d75e08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694FD28-8B22-4C01-BF2D-F34EA5DB1B8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04</Words>
  <Application>Microsoft Office PowerPoint</Application>
  <PresentationFormat>Widescreen</PresentationFormat>
  <Paragraphs>75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ptos</vt:lpstr>
      <vt:lpstr>Aptos Narrow</vt:lpstr>
      <vt:lpstr>Arial</vt:lpstr>
      <vt:lpstr>Lato</vt:lpstr>
      <vt:lpstr>Lato Black</vt:lpstr>
      <vt:lpstr>Lato Medium</vt:lpstr>
      <vt:lpstr>2_Avon 2023</vt:lpstr>
      <vt:lpstr>think-cell Slide</vt:lpstr>
      <vt:lpstr>PowerPoint Presentation</vt:lpstr>
      <vt:lpstr>KAMPANYA GÖRSEL BOYUTLARI </vt:lpstr>
      <vt:lpstr>PowerPoint Presentation</vt:lpstr>
      <vt:lpstr>PowerPoint Presentation</vt:lpstr>
      <vt:lpstr>SAKLANACAK GÖRSEL BOYUTLARI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gatay Asan/INL/TR</dc:creator>
  <cp:lastModifiedBy>Izel Kaplan/INL/TR</cp:lastModifiedBy>
  <cp:revision>45</cp:revision>
  <dcterms:created xsi:type="dcterms:W3CDTF">2024-05-20T07:13:31Z</dcterms:created>
  <dcterms:modified xsi:type="dcterms:W3CDTF">2025-02-04T05:4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0DB0B3194E4D4D9B5ADBB896608883</vt:lpwstr>
  </property>
  <property fmtid="{D5CDD505-2E9C-101B-9397-08002B2CF9AE}" pid="3" name="MediaServiceImageTags">
    <vt:lpwstr/>
  </property>
</Properties>
</file>